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2.xml" ContentType="application/vnd.openxmlformats-officedocument.presentationml.notesSlide+xml"/>
  <Override PartName="/ppt/tags/tag6.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7.xml" ContentType="application/vnd.openxmlformats-officedocument.presentationml.tags+xml"/>
  <Override PartName="/ppt/notesSlides/notesSlide5.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notesSlides/notesSlide6.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notesSlides/notesSlide7.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notesSlides/notesSlide12.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notesSlides/notesSlide13.xml" ContentType="application/vnd.openxmlformats-officedocument.presentationml.notesSlide+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27.xml" ContentType="application/vnd.openxmlformats-officedocument.presentationml.tags+xml"/>
  <Override PartName="/ppt/tags/tag28.xml" ContentType="application/vnd.openxmlformats-officedocument.presentationml.tags+xml"/>
  <Override PartName="/ppt/notesSlides/notesSlide17.xml" ContentType="application/vnd.openxmlformats-officedocument.presentationml.notesSlide+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notesSlides/notesSlide18.xml" ContentType="application/vnd.openxmlformats-officedocument.presentationml.notesSlide+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tags/tag35.xml" ContentType="application/vnd.openxmlformats-officedocument.presentationml.tags+xml"/>
  <Override PartName="/ppt/notesSlides/notesSlide21.xml" ContentType="application/vnd.openxmlformats-officedocument.presentationml.notesSlide+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notesSlides/notesSlide22.xml" ContentType="application/vnd.openxmlformats-officedocument.presentationml.notesSlide+xml"/>
  <Override PartName="/ppt/tags/tag39.xml" ContentType="application/vnd.openxmlformats-officedocument.presentationml.tags+xml"/>
  <Override PartName="/ppt/tags/tag40.xml" ContentType="application/vnd.openxmlformats-officedocument.presentationml.tags+xml"/>
  <Override PartName="/ppt/notesSlides/notesSlide23.xml" ContentType="application/vnd.openxmlformats-officedocument.presentationml.notesSlide+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notesSlides/notesSlide24.xml" ContentType="application/vnd.openxmlformats-officedocument.presentationml.notesSlide+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notesSlides/notesSlide25.xml" ContentType="application/vnd.openxmlformats-officedocument.presentationml.notesSlide+xml"/>
  <Override PartName="/ppt/tags/tag47.xml" ContentType="application/vnd.openxmlformats-officedocument.presentationml.tags+xml"/>
  <Override PartName="/ppt/notesSlides/notesSlide26.xml" ContentType="application/vnd.openxmlformats-officedocument.presentationml.notesSlide+xml"/>
  <Override PartName="/ppt/tags/tag48.xml" ContentType="application/vnd.openxmlformats-officedocument.presentationml.tags+xml"/>
  <Override PartName="/ppt/tags/tag49.xml" ContentType="application/vnd.openxmlformats-officedocument.presentationml.tags+xml"/>
  <Override PartName="/ppt/notesSlides/notesSlide27.xml" ContentType="application/vnd.openxmlformats-officedocument.presentationml.notesSlide+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notesSlides/notesSlide28.xml" ContentType="application/vnd.openxmlformats-officedocument.presentationml.notesSlide+xml"/>
  <Override PartName="/ppt/tags/tag54.xml" ContentType="application/vnd.openxmlformats-officedocument.presentationml.tags+xml"/>
  <Override PartName="/ppt/tags/tag55.xml" ContentType="application/vnd.openxmlformats-officedocument.presentationml.tags+xml"/>
  <Override PartName="/ppt/notesSlides/notesSlide29.xml" ContentType="application/vnd.openxmlformats-officedocument.presentationml.notesSlide+xml"/>
  <Override PartName="/ppt/tags/tag56.xml" ContentType="application/vnd.openxmlformats-officedocument.presentationml.tags+xml"/>
  <Override PartName="/ppt/notesSlides/notesSlide3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760" r:id="rId4"/>
    <p:sldMasterId id="2147483779" r:id="rId5"/>
  </p:sldMasterIdLst>
  <p:notesMasterIdLst>
    <p:notesMasterId r:id="rId40"/>
  </p:notesMasterIdLst>
  <p:handoutMasterIdLst>
    <p:handoutMasterId r:id="rId41"/>
  </p:handoutMasterIdLst>
  <p:sldIdLst>
    <p:sldId id="296" r:id="rId6"/>
    <p:sldId id="293" r:id="rId7"/>
    <p:sldId id="257" r:id="rId8"/>
    <p:sldId id="259" r:id="rId9"/>
    <p:sldId id="297" r:id="rId10"/>
    <p:sldId id="303" r:id="rId11"/>
    <p:sldId id="304" r:id="rId12"/>
    <p:sldId id="305" r:id="rId13"/>
    <p:sldId id="263" r:id="rId14"/>
    <p:sldId id="298" r:id="rId15"/>
    <p:sldId id="299" r:id="rId16"/>
    <p:sldId id="306" r:id="rId17"/>
    <p:sldId id="268" r:id="rId18"/>
    <p:sldId id="300" r:id="rId19"/>
    <p:sldId id="302" r:id="rId20"/>
    <p:sldId id="309" r:id="rId21"/>
    <p:sldId id="269" r:id="rId22"/>
    <p:sldId id="307" r:id="rId23"/>
    <p:sldId id="308" r:id="rId24"/>
    <p:sldId id="270" r:id="rId25"/>
    <p:sldId id="272" r:id="rId26"/>
    <p:sldId id="274" r:id="rId27"/>
    <p:sldId id="310" r:id="rId28"/>
    <p:sldId id="311" r:id="rId29"/>
    <p:sldId id="273" r:id="rId30"/>
    <p:sldId id="275" r:id="rId31"/>
    <p:sldId id="276" r:id="rId32"/>
    <p:sldId id="277" r:id="rId33"/>
    <p:sldId id="280" r:id="rId34"/>
    <p:sldId id="281" r:id="rId35"/>
    <p:sldId id="288" r:id="rId36"/>
    <p:sldId id="290" r:id="rId37"/>
    <p:sldId id="291" r:id="rId38"/>
    <p:sldId id="292" r:id="rId39"/>
  </p:sldIdLst>
  <p:sldSz cx="12188825" cy="6858000"/>
  <p:notesSz cx="6858000" cy="9296400"/>
  <p:embeddedFontLst>
    <p:embeddedFont>
      <p:font typeface="Segoe UI Light" pitchFamily="34" charset="0"/>
      <p:regular r:id="rId42"/>
    </p:embeddedFont>
    <p:embeddedFont>
      <p:font typeface="Segoe UI" pitchFamily="34" charset="0"/>
      <p:regular r:id="rId43"/>
      <p:bold r:id="rId44"/>
      <p:italic r:id="rId45"/>
      <p:boldItalic r:id="rId46"/>
    </p:embeddedFont>
    <p:embeddedFont>
      <p:font typeface="Consolas" pitchFamily="49" charset="0"/>
      <p:regular r:id="rId47"/>
      <p:bold r:id="rId48"/>
      <p:italic r:id="rId49"/>
      <p:boldItalic r:id="rId50"/>
    </p:embeddedFont>
    <p:embeddedFont>
      <p:font typeface="Segoe Light" pitchFamily="34" charset="0"/>
      <p:regular r:id="rId51"/>
      <p:italic r:id="rId52"/>
    </p:embeddedFont>
  </p:embeddedFontLst>
  <p:custDataLst>
    <p:tags r:id="rId53"/>
  </p:custDataLst>
  <p:defaultTex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p:defaultTextStyle>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95959"/>
    <a:srgbClr val="6F6F6F"/>
    <a:srgbClr val="303030"/>
    <a:srgbClr val="47474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1247" autoAdjust="0"/>
    <p:restoredTop sz="89076" autoAdjust="0"/>
  </p:normalViewPr>
  <p:slideViewPr>
    <p:cSldViewPr snapToGrid="0">
      <p:cViewPr varScale="1">
        <p:scale>
          <a:sx n="91" d="100"/>
          <a:sy n="91" d="100"/>
        </p:scale>
        <p:origin x="-126" y="-126"/>
      </p:cViewPr>
      <p:guideLst>
        <p:guide orient="horz" pos="895"/>
        <p:guide orient="horz" pos="719"/>
        <p:guide orient="horz" pos="4166"/>
        <p:guide orient="horz" pos="3937"/>
        <p:guide orient="horz" pos="1068"/>
        <p:guide pos="326"/>
        <p:guide pos="7355"/>
      </p:guideLst>
    </p:cSldViewPr>
  </p:slideViewPr>
  <p:notesTextViewPr>
    <p:cViewPr>
      <p:scale>
        <a:sx n="100" d="100"/>
        <a:sy n="100" d="100"/>
      </p:scale>
      <p:origin x="0" y="0"/>
    </p:cViewPr>
  </p:notesTextViewPr>
  <p:sorterViewPr>
    <p:cViewPr varScale="1">
      <p:scale>
        <a:sx n="1" d="1"/>
        <a:sy n="1" d="1"/>
      </p:scale>
      <p:origin x="0" y="0"/>
    </p:cViewPr>
  </p:sorterViewPr>
  <p:notesViewPr>
    <p:cSldViewPr snapToGrid="0" showGuides="1">
      <p:cViewPr varScale="1">
        <p:scale>
          <a:sx n="78" d="100"/>
          <a:sy n="78" d="100"/>
        </p:scale>
        <p:origin x="-2622" y="-102"/>
      </p:cViewPr>
      <p:guideLst>
        <p:guide orient="horz" pos="2928"/>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font" Target="fonts/font1.fntdata"/><Relationship Id="rId47" Type="http://schemas.openxmlformats.org/officeDocument/2006/relationships/font" Target="fonts/font6.fntdata"/><Relationship Id="rId50" Type="http://schemas.openxmlformats.org/officeDocument/2006/relationships/font" Target="fonts/font9.fntdata"/><Relationship Id="rId55" Type="http://schemas.openxmlformats.org/officeDocument/2006/relationships/viewProps" Target="viewProp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font" Target="fonts/font5.fntdata"/><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handoutMaster" Target="handoutMasters/handoutMaster1.xml"/><Relationship Id="rId54"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notesMaster" Target="notesMasters/notesMaster1.xml"/><Relationship Id="rId45" Type="http://schemas.openxmlformats.org/officeDocument/2006/relationships/font" Target="fonts/font4.fntdata"/><Relationship Id="rId53" Type="http://schemas.openxmlformats.org/officeDocument/2006/relationships/tags" Target="tags/tag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font" Target="fonts/font8.fntdata"/><Relationship Id="rId57" Type="http://schemas.openxmlformats.org/officeDocument/2006/relationships/tableStyles" Target="tableStyle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font" Target="fonts/font3.fntdata"/><Relationship Id="rId52" Type="http://schemas.openxmlformats.org/officeDocument/2006/relationships/font" Target="fonts/font11.fntdata"/><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font" Target="fonts/font2.fntdata"/><Relationship Id="rId48" Type="http://schemas.openxmlformats.org/officeDocument/2006/relationships/font" Target="fonts/font7.fntdata"/><Relationship Id="rId56" Type="http://schemas.openxmlformats.org/officeDocument/2006/relationships/theme" Target="theme/theme1.xml"/><Relationship Id="rId8" Type="http://schemas.openxmlformats.org/officeDocument/2006/relationships/slide" Target="slides/slide3.xml"/><Relationship Id="rId51" Type="http://schemas.openxmlformats.org/officeDocument/2006/relationships/font" Target="fonts/font10.fntdata"/><Relationship Id="rId3" Type="http://schemas.openxmlformats.org/officeDocument/2006/relationships/customXml" Target="../customXml/item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5138"/>
          </a:xfrm>
          <a:prstGeom prst="rect">
            <a:avLst/>
          </a:prstGeom>
        </p:spPr>
        <p:txBody>
          <a:bodyPr vert="horz" lIns="91440" tIns="45720" rIns="91440" bIns="45720" rtlCol="0"/>
          <a:lstStyle>
            <a:lvl1pPr algn="l">
              <a:defRPr sz="1200"/>
            </a:lvl1pPr>
          </a:lstStyle>
          <a:p>
            <a:r>
              <a:rPr lang="en-US" dirty="0" smtClean="0">
                <a:latin typeface="Segoe UI" pitchFamily="34" charset="0"/>
              </a:rPr>
              <a:t>Windows Azure Overview</a:t>
            </a:r>
            <a:endParaRPr lang="en-US" dirty="0">
              <a:latin typeface="Segoe UI" pitchFamily="34" charset="0"/>
            </a:endParaRPr>
          </a:p>
        </p:txBody>
      </p:sp>
      <p:sp>
        <p:nvSpPr>
          <p:cNvPr id="3" name="Date Placeholder 2"/>
          <p:cNvSpPr>
            <a:spLocks noGrp="1"/>
          </p:cNvSpPr>
          <p:nvPr>
            <p:ph type="dt" sz="quarter" idx="1"/>
          </p:nvPr>
        </p:nvSpPr>
        <p:spPr>
          <a:xfrm>
            <a:off x="3884613" y="0"/>
            <a:ext cx="2971800" cy="465138"/>
          </a:xfrm>
          <a:prstGeom prst="rect">
            <a:avLst/>
          </a:prstGeom>
        </p:spPr>
        <p:txBody>
          <a:bodyPr vert="horz" lIns="91440" tIns="45720" rIns="91440" bIns="45720" rtlCol="0"/>
          <a:lstStyle>
            <a:lvl1pPr algn="r">
              <a:defRPr sz="1200"/>
            </a:lvl1pPr>
          </a:lstStyle>
          <a:p>
            <a:fld id="{126C4AC0-4315-44D1-8268-F58D6F432E18}" type="datetimeFigureOut">
              <a:rPr lang="en-US" smtClean="0">
                <a:latin typeface="Segoe UI" pitchFamily="34" charset="0"/>
              </a:rPr>
              <a:t>4/26/2012</a:t>
            </a:fld>
            <a:endParaRPr lang="en-US" dirty="0">
              <a:latin typeface="Segoe UI" pitchFamily="34" charset="0"/>
            </a:endParaRPr>
          </a:p>
        </p:txBody>
      </p:sp>
      <p:sp>
        <p:nvSpPr>
          <p:cNvPr id="4" name="Footer Placeholder 3"/>
          <p:cNvSpPr>
            <a:spLocks noGrp="1"/>
          </p:cNvSpPr>
          <p:nvPr>
            <p:ph type="ftr" sz="quarter" idx="2"/>
          </p:nvPr>
        </p:nvSpPr>
        <p:spPr>
          <a:xfrm>
            <a:off x="0" y="8829675"/>
            <a:ext cx="2971800" cy="465138"/>
          </a:xfrm>
          <a:prstGeom prst="rect">
            <a:avLst/>
          </a:prstGeom>
        </p:spPr>
        <p:txBody>
          <a:bodyPr vert="horz" lIns="91440" tIns="45720" rIns="91440" bIns="45720" rtlCol="0" anchor="b"/>
          <a:lstStyle>
            <a:lvl1pPr algn="l">
              <a:defRPr sz="1200"/>
            </a:lvl1pPr>
          </a:lstStyle>
          <a:p>
            <a:endParaRPr lang="en-US" dirty="0">
              <a:latin typeface="Segoe UI" pitchFamily="34" charset="0"/>
            </a:endParaRPr>
          </a:p>
        </p:txBody>
      </p:sp>
      <p:sp>
        <p:nvSpPr>
          <p:cNvPr id="5" name="Slide Number Placeholder 4"/>
          <p:cNvSpPr>
            <a:spLocks noGrp="1"/>
          </p:cNvSpPr>
          <p:nvPr>
            <p:ph type="sldNum" sz="quarter" idx="3"/>
          </p:nvPr>
        </p:nvSpPr>
        <p:spPr>
          <a:xfrm>
            <a:off x="3884613" y="8829675"/>
            <a:ext cx="2971800" cy="465138"/>
          </a:xfrm>
          <a:prstGeom prst="rect">
            <a:avLst/>
          </a:prstGeom>
        </p:spPr>
        <p:txBody>
          <a:bodyPr vert="horz" lIns="91440" tIns="45720" rIns="91440" bIns="45720" rtlCol="0" anchor="b"/>
          <a:lstStyle>
            <a:lvl1pPr algn="r">
              <a:defRPr sz="1200"/>
            </a:lvl1pPr>
          </a:lstStyle>
          <a:p>
            <a:fld id="{FF899423-EDC2-457D-B42B-E8AC52DB47D2}"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115013000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4820"/>
          </a:xfrm>
          <a:prstGeom prst="rect">
            <a:avLst/>
          </a:prstGeom>
        </p:spPr>
        <p:txBody>
          <a:bodyPr vert="horz" lIns="91440" tIns="45720" rIns="91440" bIns="45720" rtlCol="0"/>
          <a:lstStyle>
            <a:lvl1pPr algn="l">
              <a:defRPr sz="1200">
                <a:latin typeface="Segoe UI" pitchFamily="34" charset="0"/>
              </a:defRPr>
            </a:lvl1pPr>
          </a:lstStyle>
          <a:p>
            <a:r>
              <a:rPr lang="en-US" dirty="0" smtClean="0"/>
              <a:t>Windows Azure Overview</a:t>
            </a:r>
            <a:endParaRPr lang="en-US" dirty="0"/>
          </a:p>
        </p:txBody>
      </p:sp>
      <p:sp>
        <p:nvSpPr>
          <p:cNvPr id="3" name="Date Placeholder 2"/>
          <p:cNvSpPr>
            <a:spLocks noGrp="1"/>
          </p:cNvSpPr>
          <p:nvPr>
            <p:ph type="dt" idx="1"/>
          </p:nvPr>
        </p:nvSpPr>
        <p:spPr>
          <a:xfrm>
            <a:off x="3884613" y="0"/>
            <a:ext cx="2971800" cy="464820"/>
          </a:xfrm>
          <a:prstGeom prst="rect">
            <a:avLst/>
          </a:prstGeom>
        </p:spPr>
        <p:txBody>
          <a:bodyPr vert="horz" lIns="91440" tIns="45720" rIns="91440" bIns="45720" rtlCol="0"/>
          <a:lstStyle>
            <a:lvl1pPr algn="r">
              <a:defRPr sz="1200">
                <a:latin typeface="Segoe UI" pitchFamily="34" charset="0"/>
              </a:defRPr>
            </a:lvl1pPr>
          </a:lstStyle>
          <a:p>
            <a:fld id="{CAE3F082-F902-42D8-A765-720E172C3194}" type="datetimeFigureOut">
              <a:rPr lang="en-US" smtClean="0"/>
              <a:pPr/>
              <a:t>4/26/2012</a:t>
            </a:fld>
            <a:endParaRPr lang="en-US" dirty="0"/>
          </a:p>
        </p:txBody>
      </p:sp>
      <p:sp>
        <p:nvSpPr>
          <p:cNvPr id="4" name="Slide Image Placeholder 3"/>
          <p:cNvSpPr>
            <a:spLocks noGrp="1" noRot="1" noChangeAspect="1"/>
          </p:cNvSpPr>
          <p:nvPr>
            <p:ph type="sldImg" idx="2"/>
          </p:nvPr>
        </p:nvSpPr>
        <p:spPr>
          <a:xfrm>
            <a:off x="331788" y="696913"/>
            <a:ext cx="6194425" cy="348615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15790"/>
            <a:ext cx="5486400" cy="4183380"/>
          </a:xfrm>
          <a:prstGeom prst="rect">
            <a:avLst/>
          </a:prstGeom>
        </p:spPr>
        <p:txBody>
          <a:bodyPr vert="horz" lIns="91440" tIns="45720" rIns="91440" bIns="45720" rtlCol="0"/>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829967"/>
            <a:ext cx="2971800" cy="464820"/>
          </a:xfrm>
          <a:prstGeom prst="rect">
            <a:avLst/>
          </a:prstGeom>
        </p:spPr>
        <p:txBody>
          <a:bodyPr vert="horz" lIns="91440" tIns="45720" rIns="91440" bIns="45720" rtlCol="0" anchor="b"/>
          <a:lstStyle>
            <a:lvl1pPr algn="l">
              <a:defRPr sz="1200">
                <a:latin typeface="Segoe UI" pitchFamily="34" charset="0"/>
              </a:defRPr>
            </a:lvl1pPr>
          </a:lstStyle>
          <a:p>
            <a:endParaRPr lang="en-US" dirty="0"/>
          </a:p>
        </p:txBody>
      </p:sp>
      <p:sp>
        <p:nvSpPr>
          <p:cNvPr id="7" name="Slide Number Placeholder 6"/>
          <p:cNvSpPr>
            <a:spLocks noGrp="1"/>
          </p:cNvSpPr>
          <p:nvPr>
            <p:ph type="sldNum" sz="quarter" idx="5"/>
          </p:nvPr>
        </p:nvSpPr>
        <p:spPr>
          <a:xfrm>
            <a:off x="3884613" y="8829967"/>
            <a:ext cx="2971800" cy="464820"/>
          </a:xfrm>
          <a:prstGeom prst="rect">
            <a:avLst/>
          </a:prstGeom>
        </p:spPr>
        <p:txBody>
          <a:bodyPr vert="horz" lIns="91440" tIns="45720" rIns="91440" bIns="45720" rtlCol="0" anchor="b"/>
          <a:lstStyle>
            <a:lvl1pPr algn="r">
              <a:defRPr sz="1200">
                <a:latin typeface="Segoe UI" pitchFamily="34" charset="0"/>
              </a:defRPr>
            </a:lvl1pPr>
          </a:lstStyle>
          <a:p>
            <a:fld id="{82AABF77-E2E4-44CA-BA5C-65E132CF08D8}" type="slidenum">
              <a:rPr lang="en-US" smtClean="0"/>
              <a:pPr/>
              <a:t>‹#›</a:t>
            </a:fld>
            <a:endParaRPr lang="en-US" dirty="0"/>
          </a:p>
        </p:txBody>
      </p:sp>
    </p:spTree>
    <p:extLst>
      <p:ext uri="{BB962C8B-B14F-4D97-AF65-F5344CB8AC3E}">
        <p14:creationId xmlns:p14="http://schemas.microsoft.com/office/powerpoint/2010/main" val="1716936007"/>
      </p:ext>
    </p:extLst>
  </p:cSld>
  <p:clrMap bg1="lt1" tx1="dk1" bg2="lt2" tx2="dk2" accent1="accent1" accent2="accent2" accent3="accent3" accent4="accent4" accent5="accent5" accent6="accent6" hlink="hlink" folHlink="folHlink"/>
  <p:notesStyle>
    <a:lvl1pPr marL="0" algn="l" defTabSz="1218987" rtl="0" eaLnBrk="1" latinLnBrk="0" hangingPunct="1">
      <a:defRPr sz="1600" kern="1200">
        <a:solidFill>
          <a:schemeClr val="tx1"/>
        </a:solidFill>
        <a:latin typeface="Segoe UI" pitchFamily="34" charset="0"/>
        <a:ea typeface="+mn-ea"/>
        <a:cs typeface="+mn-cs"/>
      </a:defRPr>
    </a:lvl1pPr>
    <a:lvl2pPr marL="609493" algn="l" defTabSz="1218987" rtl="0" eaLnBrk="1" latinLnBrk="0" hangingPunct="1">
      <a:defRPr sz="1600" kern="1200">
        <a:solidFill>
          <a:schemeClr val="tx1"/>
        </a:solidFill>
        <a:latin typeface="Segoe UI" pitchFamily="34" charset="0"/>
        <a:ea typeface="+mn-ea"/>
        <a:cs typeface="+mn-cs"/>
      </a:defRPr>
    </a:lvl2pPr>
    <a:lvl3pPr marL="1218987" algn="l" defTabSz="1218987" rtl="0" eaLnBrk="1" latinLnBrk="0" hangingPunct="1">
      <a:defRPr sz="1600" kern="1200">
        <a:solidFill>
          <a:schemeClr val="tx1"/>
        </a:solidFill>
        <a:latin typeface="Segoe UI" pitchFamily="34" charset="0"/>
        <a:ea typeface="+mn-ea"/>
        <a:cs typeface="+mn-cs"/>
      </a:defRPr>
    </a:lvl3pPr>
    <a:lvl4pPr marL="1828480" algn="l" defTabSz="1218987" rtl="0" eaLnBrk="1" latinLnBrk="0" hangingPunct="1">
      <a:defRPr sz="1600" kern="1200">
        <a:solidFill>
          <a:schemeClr val="tx1"/>
        </a:solidFill>
        <a:latin typeface="Segoe UI" pitchFamily="34" charset="0"/>
        <a:ea typeface="+mn-ea"/>
        <a:cs typeface="+mn-cs"/>
      </a:defRPr>
    </a:lvl4pPr>
    <a:lvl5pPr marL="2437973" algn="l" defTabSz="1218987" rtl="0" eaLnBrk="1" latinLnBrk="0" hangingPunct="1">
      <a:defRPr sz="1600" kern="1200">
        <a:solidFill>
          <a:schemeClr val="tx1"/>
        </a:solidFill>
        <a:latin typeface="Segoe UI" pitchFamily="34" charset="0"/>
        <a:ea typeface="+mn-ea"/>
        <a:cs typeface="+mn-cs"/>
      </a:defRPr>
    </a:lvl5pPr>
    <a:lvl6pPr marL="3047467" algn="l" defTabSz="1218987" rtl="0" eaLnBrk="1" latinLnBrk="0" hangingPunct="1">
      <a:defRPr sz="1600" kern="1200">
        <a:solidFill>
          <a:schemeClr val="tx1"/>
        </a:solidFill>
        <a:latin typeface="+mn-lt"/>
        <a:ea typeface="+mn-ea"/>
        <a:cs typeface="+mn-cs"/>
      </a:defRPr>
    </a:lvl6pPr>
    <a:lvl7pPr marL="3656960" algn="l" defTabSz="1218987" rtl="0" eaLnBrk="1" latinLnBrk="0" hangingPunct="1">
      <a:defRPr sz="1600" kern="1200">
        <a:solidFill>
          <a:schemeClr val="tx1"/>
        </a:solidFill>
        <a:latin typeface="+mn-lt"/>
        <a:ea typeface="+mn-ea"/>
        <a:cs typeface="+mn-cs"/>
      </a:defRPr>
    </a:lvl7pPr>
    <a:lvl8pPr marL="4266453" algn="l" defTabSz="1218987" rtl="0" eaLnBrk="1" latinLnBrk="0" hangingPunct="1">
      <a:defRPr sz="1600" kern="1200">
        <a:solidFill>
          <a:schemeClr val="tx1"/>
        </a:solidFill>
        <a:latin typeface="+mn-lt"/>
        <a:ea typeface="+mn-ea"/>
        <a:cs typeface="+mn-cs"/>
      </a:defRPr>
    </a:lvl8pPr>
    <a:lvl9pPr marL="4875947" algn="l" defTabSz="1218987"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2</a:t>
            </a:fld>
            <a:endParaRPr lang="en-US" dirty="0"/>
          </a:p>
        </p:txBody>
      </p:sp>
    </p:spTree>
    <p:extLst>
      <p:ext uri="{BB962C8B-B14F-4D97-AF65-F5344CB8AC3E}">
        <p14:creationId xmlns:p14="http://schemas.microsoft.com/office/powerpoint/2010/main" val="125873448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1</a:t>
            </a:r>
            <a:r>
              <a:rPr lang="en-US" baseline="0" dirty="0" smtClean="0"/>
              <a:t> minute</a:t>
            </a:r>
          </a:p>
          <a:p>
            <a:endParaRPr lang="en-US" baseline="0" dirty="0" smtClean="0"/>
          </a:p>
          <a:p>
            <a:r>
              <a:rPr lang="en-US" baseline="0" dirty="0" smtClean="0"/>
              <a:t>The transition from code to markup is one of the most elegant things about Razor but there a few rules that are worth knowing about.  </a:t>
            </a:r>
          </a:p>
          <a:p>
            <a:endParaRPr lang="es-AR" baseline="0" dirty="0" smtClean="0"/>
          </a:p>
          <a:p>
            <a:r>
              <a:rPr lang="en-US" b="1" u="sng" baseline="0" noProof="0" dirty="0" smtClean="0"/>
              <a:t>Option</a:t>
            </a:r>
            <a:r>
              <a:rPr lang="es-AR" b="1" u="sng" baseline="0" dirty="0" smtClean="0"/>
              <a:t> 1:</a:t>
            </a:r>
            <a:endParaRPr lang="en-US" b="1" u="sng" baseline="0" dirty="0" smtClean="0"/>
          </a:p>
          <a:p>
            <a:pPr marL="0" indent="0">
              <a:buNone/>
            </a:pPr>
            <a:r>
              <a:rPr lang="en-US" baseline="0" dirty="0" smtClean="0"/>
              <a:t>Code is the primary citizen in a code block, not HTML.  This means the parser will always expect code unless it finds valid opening (and closing) tags. </a:t>
            </a:r>
            <a:r>
              <a:rPr lang="en-US" i="0" baseline="0" dirty="0" smtClean="0"/>
              <a:t>In the first option block you see that after the @{ a name variable is defined. No additional tag is necessary. </a:t>
            </a:r>
          </a:p>
          <a:p>
            <a:pPr marL="0" indent="0">
              <a:buNone/>
            </a:pPr>
            <a:r>
              <a:rPr lang="en-US" i="0" baseline="0" dirty="0" smtClean="0"/>
              <a:t>A &lt;div&gt; section tells Razor that what follows should be taken as literal. Then the @name indicates a variable that needs to be replaced with its value.</a:t>
            </a:r>
          </a:p>
          <a:p>
            <a:pPr marL="0" indent="0">
              <a:buNone/>
            </a:pPr>
            <a:endParaRPr lang="es-AR" baseline="0" dirty="0" smtClean="0"/>
          </a:p>
          <a:p>
            <a:pPr marL="0" indent="0">
              <a:buNone/>
            </a:pPr>
            <a:r>
              <a:rPr lang="en-US" b="1" u="sng" baseline="0" noProof="0" dirty="0" smtClean="0"/>
              <a:t>Option 2:</a:t>
            </a:r>
          </a:p>
          <a:p>
            <a:pPr marL="0" indent="0">
              <a:buNone/>
            </a:pPr>
            <a:r>
              <a:rPr lang="en-US" baseline="0" dirty="0" smtClean="0"/>
              <a:t>Similarly, to explicitly call out text in a code block as HTML, wrap it in a &lt;text&gt; tag</a:t>
            </a:r>
          </a:p>
          <a:p>
            <a:pPr marL="0" indent="0">
              <a:buNone/>
            </a:pPr>
            <a:endParaRPr lang="es-AR"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1" u="sng" baseline="0" noProof="0" dirty="0" smtClean="0"/>
              <a:t>Option 3:</a:t>
            </a:r>
          </a:p>
          <a:p>
            <a:pPr marL="0" indent="0">
              <a:buNone/>
            </a:pPr>
            <a:r>
              <a:rPr lang="en-US" baseline="0" dirty="0" smtClean="0"/>
              <a:t>Single line of output within markup can be denoted by @:</a:t>
            </a:r>
          </a:p>
          <a:p>
            <a:pPr marL="0" marR="0" indent="0" algn="l" defTabSz="914400" rtl="0" eaLnBrk="1" fontAlgn="auto" latinLnBrk="0" hangingPunct="1">
              <a:lnSpc>
                <a:spcPct val="100000"/>
              </a:lnSpc>
              <a:spcBef>
                <a:spcPts val="0"/>
              </a:spcBef>
              <a:spcAft>
                <a:spcPts val="0"/>
              </a:spcAft>
              <a:buClrTx/>
              <a:buSzTx/>
              <a:buFontTx/>
              <a:buNone/>
              <a:tabLst/>
              <a:defRPr/>
            </a:pPr>
            <a:r>
              <a:rPr lang="en-US" i="0" baseline="0" noProof="0" dirty="0" smtClean="0"/>
              <a:t>This option is useful when you don’t want to render an </a:t>
            </a:r>
            <a:r>
              <a:rPr lang="en-US" i="0" dirty="0" smtClean="0"/>
              <a:t>HTML element as part of the output. </a:t>
            </a:r>
            <a:endParaRPr lang="en-US" i="0" baseline="0" dirty="0" smtClean="0"/>
          </a:p>
          <a:p>
            <a:endParaRPr lang="en-US"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Extra Knowledge (Advanced):</a:t>
            </a: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The</a:t>
            </a:r>
            <a:r>
              <a:rPr lang="en-US" baseline="0" dirty="0" smtClean="0"/>
              <a:t> Parser that understands Razor is itself a standalone assembly (</a:t>
            </a:r>
            <a:r>
              <a:rPr lang="en-US" dirty="0" smtClean="0"/>
              <a:t>System.Web.Razor.dll)</a:t>
            </a:r>
            <a:r>
              <a:rPr lang="en-US" baseline="0" dirty="0" smtClean="0"/>
              <a:t> which has no dependencies on ASP.NET which means you can use it to parse CSHTML/VBHTML files and produce C#/VB code in any .NET application.  </a:t>
            </a:r>
            <a:endParaRPr lang="en-US" dirty="0" smtClean="0"/>
          </a:p>
        </p:txBody>
      </p:sp>
      <p:sp>
        <p:nvSpPr>
          <p:cNvPr id="4" name="Slide Number Placeholder 3"/>
          <p:cNvSpPr>
            <a:spLocks noGrp="1"/>
          </p:cNvSpPr>
          <p:nvPr>
            <p:ph type="sldNum" sz="quarter" idx="10"/>
          </p:nvPr>
        </p:nvSpPr>
        <p:spPr/>
        <p:txBody>
          <a:bodyPr/>
          <a:lstStyle/>
          <a:p>
            <a:fld id="{D88053AA-761C-4194-BE5B-5E836C7C1428}" type="slidenum">
              <a:rPr lang="en-US" smtClean="0"/>
              <a:t>11</a:t>
            </a:fld>
            <a:endParaRPr lang="en-US"/>
          </a:p>
        </p:txBody>
      </p:sp>
    </p:spTree>
    <p:extLst>
      <p:ext uri="{BB962C8B-B14F-4D97-AF65-F5344CB8AC3E}">
        <p14:creationId xmlns:p14="http://schemas.microsoft.com/office/powerpoint/2010/main" val="70645723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1</a:t>
            </a:r>
            <a:r>
              <a:rPr lang="en-US" baseline="0" dirty="0" smtClean="0"/>
              <a:t> minute</a:t>
            </a:r>
          </a:p>
          <a:p>
            <a:endParaRPr lang="en-US" baseline="0" dirty="0" smtClean="0"/>
          </a:p>
          <a:p>
            <a:r>
              <a:rPr lang="en-US" baseline="0" dirty="0" smtClean="0"/>
              <a:t>The transition from code to markup is one of the most elegant things about Razor but there a few rules that are worth knowing about.  </a:t>
            </a:r>
          </a:p>
          <a:p>
            <a:endParaRPr lang="es-AR" baseline="0" dirty="0" smtClean="0"/>
          </a:p>
          <a:p>
            <a:r>
              <a:rPr lang="en-US" b="1" u="sng" baseline="0" noProof="0" dirty="0" smtClean="0"/>
              <a:t>Option</a:t>
            </a:r>
            <a:r>
              <a:rPr lang="es-AR" b="1" u="sng" baseline="0" dirty="0" smtClean="0"/>
              <a:t> 1:</a:t>
            </a:r>
            <a:endParaRPr lang="en-US" b="1" u="sng" baseline="0" dirty="0" smtClean="0"/>
          </a:p>
          <a:p>
            <a:pPr marL="0" indent="0">
              <a:buNone/>
            </a:pPr>
            <a:r>
              <a:rPr lang="en-US" baseline="0" dirty="0" smtClean="0"/>
              <a:t>Code is the primary citizen in a code block, not HTML.  This means the parser will always expect code unless it finds valid opening (and closing) tags. </a:t>
            </a:r>
            <a:r>
              <a:rPr lang="en-US" i="0" baseline="0" dirty="0" smtClean="0"/>
              <a:t>In the first option block you see that after the @{ a name variable is defined. No additional tag is necessary. </a:t>
            </a:r>
          </a:p>
          <a:p>
            <a:pPr marL="0" indent="0">
              <a:buNone/>
            </a:pPr>
            <a:r>
              <a:rPr lang="en-US" i="0" baseline="0" dirty="0" smtClean="0"/>
              <a:t>A &lt;div&gt; section tells Razor that what follows should be taken as literal. Then the @name indicates a variable that needs to be replaced with its value.</a:t>
            </a:r>
          </a:p>
          <a:p>
            <a:pPr marL="0" indent="0">
              <a:buNone/>
            </a:pPr>
            <a:endParaRPr lang="es-AR" baseline="0" dirty="0" smtClean="0"/>
          </a:p>
          <a:p>
            <a:pPr marL="0" indent="0">
              <a:buNone/>
            </a:pPr>
            <a:r>
              <a:rPr lang="en-US" b="1" u="sng" baseline="0" noProof="0" dirty="0" smtClean="0"/>
              <a:t>Option 2:</a:t>
            </a:r>
          </a:p>
          <a:p>
            <a:pPr marL="0" indent="0">
              <a:buNone/>
            </a:pPr>
            <a:r>
              <a:rPr lang="en-US" baseline="0" dirty="0" smtClean="0"/>
              <a:t>Similarly, to explicitly call out text in a code block as HTML, wrap it in a &lt;text&gt; tag</a:t>
            </a:r>
          </a:p>
          <a:p>
            <a:pPr marL="0" indent="0">
              <a:buNone/>
            </a:pPr>
            <a:endParaRPr lang="es-AR"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1" u="sng" baseline="0" noProof="0" dirty="0" smtClean="0"/>
              <a:t>Option 3:</a:t>
            </a:r>
          </a:p>
          <a:p>
            <a:pPr marL="0" indent="0">
              <a:buNone/>
            </a:pPr>
            <a:r>
              <a:rPr lang="en-US" baseline="0" dirty="0" smtClean="0"/>
              <a:t>Single line of output within markup can be denoted by @:</a:t>
            </a:r>
          </a:p>
          <a:p>
            <a:pPr marL="0" marR="0" indent="0" algn="l" defTabSz="914400" rtl="0" eaLnBrk="1" fontAlgn="auto" latinLnBrk="0" hangingPunct="1">
              <a:lnSpc>
                <a:spcPct val="100000"/>
              </a:lnSpc>
              <a:spcBef>
                <a:spcPts val="0"/>
              </a:spcBef>
              <a:spcAft>
                <a:spcPts val="0"/>
              </a:spcAft>
              <a:buClrTx/>
              <a:buSzTx/>
              <a:buFontTx/>
              <a:buNone/>
              <a:tabLst/>
              <a:defRPr/>
            </a:pPr>
            <a:r>
              <a:rPr lang="en-US" i="0" baseline="0" noProof="0" dirty="0" smtClean="0"/>
              <a:t>This option is useful when you don’t want to render an </a:t>
            </a:r>
            <a:r>
              <a:rPr lang="en-US" i="0" dirty="0" smtClean="0"/>
              <a:t>HTML element as part of the output. </a:t>
            </a:r>
            <a:endParaRPr lang="en-US" i="0" baseline="0" dirty="0" smtClean="0"/>
          </a:p>
          <a:p>
            <a:endParaRPr lang="en-US"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Extra Knowledge (Advanced):</a:t>
            </a: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The</a:t>
            </a:r>
            <a:r>
              <a:rPr lang="en-US" baseline="0" dirty="0" smtClean="0"/>
              <a:t> Parser that understands Razor is itself a standalone assembly (</a:t>
            </a:r>
            <a:r>
              <a:rPr lang="en-US" dirty="0" smtClean="0"/>
              <a:t>System.Web.Razor.dll)</a:t>
            </a:r>
            <a:r>
              <a:rPr lang="en-US" baseline="0" dirty="0" smtClean="0"/>
              <a:t> which has no dependencies on ASP.NET which means you can use it to parse CSHTML/VBHTML files and produce C#/VB code in any .NET application.  </a:t>
            </a:r>
            <a:endParaRPr lang="en-US" dirty="0" smtClean="0"/>
          </a:p>
        </p:txBody>
      </p:sp>
      <p:sp>
        <p:nvSpPr>
          <p:cNvPr id="4" name="Slide Number Placeholder 3"/>
          <p:cNvSpPr>
            <a:spLocks noGrp="1"/>
          </p:cNvSpPr>
          <p:nvPr>
            <p:ph type="sldNum" sz="quarter" idx="10"/>
          </p:nvPr>
        </p:nvSpPr>
        <p:spPr/>
        <p:txBody>
          <a:bodyPr/>
          <a:lstStyle/>
          <a:p>
            <a:fld id="{D88053AA-761C-4194-BE5B-5E836C7C1428}" type="slidenum">
              <a:rPr lang="en-US" smtClean="0"/>
              <a:t>12</a:t>
            </a:fld>
            <a:endParaRPr lang="en-US"/>
          </a:p>
        </p:txBody>
      </p:sp>
    </p:spTree>
    <p:extLst>
      <p:ext uri="{BB962C8B-B14F-4D97-AF65-F5344CB8AC3E}">
        <p14:creationId xmlns:p14="http://schemas.microsoft.com/office/powerpoint/2010/main" val="70645723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13</a:t>
            </a:fld>
            <a:endParaRPr lang="en-US" dirty="0"/>
          </a:p>
        </p:txBody>
      </p:sp>
    </p:spTree>
    <p:extLst>
      <p:ext uri="{BB962C8B-B14F-4D97-AF65-F5344CB8AC3E}">
        <p14:creationId xmlns:p14="http://schemas.microsoft.com/office/powerpoint/2010/main" val="194006422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6</a:t>
            </a:fld>
            <a:endParaRPr lang="en-US" dirty="0"/>
          </a:p>
        </p:txBody>
      </p:sp>
    </p:spTree>
    <p:extLst>
      <p:ext uri="{BB962C8B-B14F-4D97-AF65-F5344CB8AC3E}">
        <p14:creationId xmlns:p14="http://schemas.microsoft.com/office/powerpoint/2010/main" val="34626546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17</a:t>
            </a:fld>
            <a:endParaRPr lang="en-US" dirty="0"/>
          </a:p>
        </p:txBody>
      </p:sp>
    </p:spTree>
    <p:extLst>
      <p:ext uri="{BB962C8B-B14F-4D97-AF65-F5344CB8AC3E}">
        <p14:creationId xmlns:p14="http://schemas.microsoft.com/office/powerpoint/2010/main" val="314876838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1</a:t>
            </a:r>
            <a:r>
              <a:rPr lang="en-US" baseline="0" dirty="0" smtClean="0"/>
              <a:t> minute</a:t>
            </a:r>
          </a:p>
          <a:p>
            <a:endParaRPr lang="en-US" baseline="0" dirty="0" smtClean="0"/>
          </a:p>
          <a:p>
            <a:r>
              <a:rPr lang="en-US" baseline="0" dirty="0" smtClean="0"/>
              <a:t>The transition from code to markup is one of the most elegant things about Razor but there a few rules that are worth knowing about.  </a:t>
            </a:r>
          </a:p>
          <a:p>
            <a:endParaRPr lang="es-AR" baseline="0" dirty="0" smtClean="0"/>
          </a:p>
          <a:p>
            <a:r>
              <a:rPr lang="en-US" b="1" u="sng" baseline="0" noProof="0" dirty="0" smtClean="0"/>
              <a:t>Option</a:t>
            </a:r>
            <a:r>
              <a:rPr lang="es-AR" b="1" u="sng" baseline="0" dirty="0" smtClean="0"/>
              <a:t> 1:</a:t>
            </a:r>
            <a:endParaRPr lang="en-US" b="1" u="sng" baseline="0" dirty="0" smtClean="0"/>
          </a:p>
          <a:p>
            <a:pPr marL="0" indent="0">
              <a:buNone/>
            </a:pPr>
            <a:r>
              <a:rPr lang="en-US" baseline="0" dirty="0" smtClean="0"/>
              <a:t>Code is the primary citizen in a code block, not HTML.  This means the parser will always expect code unless it finds valid opening (and closing) tags. </a:t>
            </a:r>
            <a:r>
              <a:rPr lang="en-US" i="0" baseline="0" dirty="0" smtClean="0"/>
              <a:t>In the first option block you see that after the @{ a name variable is defined. No additional tag is necessary. </a:t>
            </a:r>
          </a:p>
          <a:p>
            <a:pPr marL="0" indent="0">
              <a:buNone/>
            </a:pPr>
            <a:r>
              <a:rPr lang="en-US" i="0" baseline="0" dirty="0" smtClean="0"/>
              <a:t>A &lt;div&gt; section tells Razor that what follows should be taken as literal. Then the @name indicates a variable that needs to be replaced with its value.</a:t>
            </a:r>
          </a:p>
          <a:p>
            <a:pPr marL="0" indent="0">
              <a:buNone/>
            </a:pPr>
            <a:endParaRPr lang="es-AR" baseline="0" dirty="0" smtClean="0"/>
          </a:p>
          <a:p>
            <a:pPr marL="0" indent="0">
              <a:buNone/>
            </a:pPr>
            <a:r>
              <a:rPr lang="en-US" b="1" u="sng" baseline="0" noProof="0" dirty="0" smtClean="0"/>
              <a:t>Option 2:</a:t>
            </a:r>
          </a:p>
          <a:p>
            <a:pPr marL="0" indent="0">
              <a:buNone/>
            </a:pPr>
            <a:r>
              <a:rPr lang="en-US" baseline="0" dirty="0" smtClean="0"/>
              <a:t>Similarly, to explicitly call out text in a code block as HTML, wrap it in a &lt;text&gt; tag</a:t>
            </a:r>
          </a:p>
          <a:p>
            <a:pPr marL="0" indent="0">
              <a:buNone/>
            </a:pPr>
            <a:endParaRPr lang="es-AR"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1" u="sng" baseline="0" noProof="0" dirty="0" smtClean="0"/>
              <a:t>Option 3:</a:t>
            </a:r>
          </a:p>
          <a:p>
            <a:pPr marL="0" indent="0">
              <a:buNone/>
            </a:pPr>
            <a:r>
              <a:rPr lang="en-US" baseline="0" dirty="0" smtClean="0"/>
              <a:t>Single line of output within markup can be denoted by @:</a:t>
            </a:r>
          </a:p>
          <a:p>
            <a:pPr marL="0" marR="0" indent="0" algn="l" defTabSz="914400" rtl="0" eaLnBrk="1" fontAlgn="auto" latinLnBrk="0" hangingPunct="1">
              <a:lnSpc>
                <a:spcPct val="100000"/>
              </a:lnSpc>
              <a:spcBef>
                <a:spcPts val="0"/>
              </a:spcBef>
              <a:spcAft>
                <a:spcPts val="0"/>
              </a:spcAft>
              <a:buClrTx/>
              <a:buSzTx/>
              <a:buFontTx/>
              <a:buNone/>
              <a:tabLst/>
              <a:defRPr/>
            </a:pPr>
            <a:r>
              <a:rPr lang="en-US" i="0" baseline="0" noProof="0" dirty="0" smtClean="0"/>
              <a:t>This option is useful when you don’t want to render an </a:t>
            </a:r>
            <a:r>
              <a:rPr lang="en-US" i="0" dirty="0" smtClean="0"/>
              <a:t>HTML element as part of the output. </a:t>
            </a:r>
            <a:endParaRPr lang="en-US" i="0" baseline="0" dirty="0" smtClean="0"/>
          </a:p>
          <a:p>
            <a:endParaRPr lang="en-US"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Extra Knowledge (Advanced):</a:t>
            </a: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The</a:t>
            </a:r>
            <a:r>
              <a:rPr lang="en-US" baseline="0" dirty="0" smtClean="0"/>
              <a:t> Parser that understands Razor is itself a standalone assembly (</a:t>
            </a:r>
            <a:r>
              <a:rPr lang="en-US" dirty="0" smtClean="0"/>
              <a:t>System.Web.Razor.dll)</a:t>
            </a:r>
            <a:r>
              <a:rPr lang="en-US" baseline="0" dirty="0" smtClean="0"/>
              <a:t> which has no dependencies on ASP.NET which means you can use it to parse CSHTML/VBHTML files and produce C#/VB code in any .NET application.  </a:t>
            </a:r>
            <a:endParaRPr lang="en-US" dirty="0" smtClean="0"/>
          </a:p>
        </p:txBody>
      </p:sp>
      <p:sp>
        <p:nvSpPr>
          <p:cNvPr id="4" name="Slide Number Placeholder 3"/>
          <p:cNvSpPr>
            <a:spLocks noGrp="1"/>
          </p:cNvSpPr>
          <p:nvPr>
            <p:ph type="sldNum" sz="quarter" idx="10"/>
          </p:nvPr>
        </p:nvSpPr>
        <p:spPr/>
        <p:txBody>
          <a:bodyPr/>
          <a:lstStyle/>
          <a:p>
            <a:fld id="{D88053AA-761C-4194-BE5B-5E836C7C1428}" type="slidenum">
              <a:rPr lang="en-US" smtClean="0"/>
              <a:t>18</a:t>
            </a:fld>
            <a:endParaRPr lang="en-US"/>
          </a:p>
        </p:txBody>
      </p:sp>
    </p:spTree>
    <p:extLst>
      <p:ext uri="{BB962C8B-B14F-4D97-AF65-F5344CB8AC3E}">
        <p14:creationId xmlns:p14="http://schemas.microsoft.com/office/powerpoint/2010/main" val="70645723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1</a:t>
            </a:r>
            <a:r>
              <a:rPr lang="en-US" baseline="0" dirty="0" smtClean="0"/>
              <a:t> minute</a:t>
            </a:r>
          </a:p>
          <a:p>
            <a:endParaRPr lang="en-US" baseline="0" dirty="0" smtClean="0"/>
          </a:p>
          <a:p>
            <a:r>
              <a:rPr lang="en-US" baseline="0" dirty="0" smtClean="0"/>
              <a:t>The transition from code to markup is one of the most elegant things about Razor but there a few rules that are worth knowing about.  </a:t>
            </a:r>
          </a:p>
          <a:p>
            <a:endParaRPr lang="es-AR" baseline="0" dirty="0" smtClean="0"/>
          </a:p>
          <a:p>
            <a:r>
              <a:rPr lang="en-US" b="1" u="sng" baseline="0" noProof="0" dirty="0" smtClean="0"/>
              <a:t>Option</a:t>
            </a:r>
            <a:r>
              <a:rPr lang="es-AR" b="1" u="sng" baseline="0" dirty="0" smtClean="0"/>
              <a:t> 1:</a:t>
            </a:r>
            <a:endParaRPr lang="en-US" b="1" u="sng" baseline="0" dirty="0" smtClean="0"/>
          </a:p>
          <a:p>
            <a:pPr marL="0" indent="0">
              <a:buNone/>
            </a:pPr>
            <a:r>
              <a:rPr lang="en-US" baseline="0" dirty="0" smtClean="0"/>
              <a:t>Code is the primary citizen in a code block, not HTML.  This means the parser will always expect code unless it finds valid opening (and closing) tags. </a:t>
            </a:r>
            <a:r>
              <a:rPr lang="en-US" i="0" baseline="0" dirty="0" smtClean="0"/>
              <a:t>In the first option block you see that after the @{ a name variable is defined. No additional tag is necessary. </a:t>
            </a:r>
          </a:p>
          <a:p>
            <a:pPr marL="0" indent="0">
              <a:buNone/>
            </a:pPr>
            <a:r>
              <a:rPr lang="en-US" i="0" baseline="0" dirty="0" smtClean="0"/>
              <a:t>A &lt;div&gt; section tells Razor that what follows should be taken as literal. Then the @name indicates a variable that needs to be replaced with its value.</a:t>
            </a:r>
          </a:p>
          <a:p>
            <a:pPr marL="0" indent="0">
              <a:buNone/>
            </a:pPr>
            <a:endParaRPr lang="es-AR" baseline="0" dirty="0" smtClean="0"/>
          </a:p>
          <a:p>
            <a:pPr marL="0" indent="0">
              <a:buNone/>
            </a:pPr>
            <a:r>
              <a:rPr lang="en-US" b="1" u="sng" baseline="0" noProof="0" dirty="0" smtClean="0"/>
              <a:t>Option 2:</a:t>
            </a:r>
          </a:p>
          <a:p>
            <a:pPr marL="0" indent="0">
              <a:buNone/>
            </a:pPr>
            <a:r>
              <a:rPr lang="en-US" baseline="0" dirty="0" smtClean="0"/>
              <a:t>Similarly, to explicitly call out text in a code block as HTML, wrap it in a &lt;text&gt; tag</a:t>
            </a:r>
          </a:p>
          <a:p>
            <a:pPr marL="0" indent="0">
              <a:buNone/>
            </a:pPr>
            <a:endParaRPr lang="es-AR"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1" u="sng" baseline="0" noProof="0" dirty="0" smtClean="0"/>
              <a:t>Option 3:</a:t>
            </a:r>
          </a:p>
          <a:p>
            <a:pPr marL="0" indent="0">
              <a:buNone/>
            </a:pPr>
            <a:r>
              <a:rPr lang="en-US" baseline="0" dirty="0" smtClean="0"/>
              <a:t>Single line of output within markup can be denoted by @:</a:t>
            </a:r>
          </a:p>
          <a:p>
            <a:pPr marL="0" marR="0" indent="0" algn="l" defTabSz="914400" rtl="0" eaLnBrk="1" fontAlgn="auto" latinLnBrk="0" hangingPunct="1">
              <a:lnSpc>
                <a:spcPct val="100000"/>
              </a:lnSpc>
              <a:spcBef>
                <a:spcPts val="0"/>
              </a:spcBef>
              <a:spcAft>
                <a:spcPts val="0"/>
              </a:spcAft>
              <a:buClrTx/>
              <a:buSzTx/>
              <a:buFontTx/>
              <a:buNone/>
              <a:tabLst/>
              <a:defRPr/>
            </a:pPr>
            <a:r>
              <a:rPr lang="en-US" i="0" baseline="0" noProof="0" dirty="0" smtClean="0"/>
              <a:t>This option is useful when you don’t want to render an </a:t>
            </a:r>
            <a:r>
              <a:rPr lang="en-US" i="0" dirty="0" smtClean="0"/>
              <a:t>HTML element as part of the output. </a:t>
            </a:r>
            <a:endParaRPr lang="en-US" i="0" baseline="0" dirty="0" smtClean="0"/>
          </a:p>
          <a:p>
            <a:endParaRPr lang="en-US"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Extra Knowledge (Advanced):</a:t>
            </a: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The</a:t>
            </a:r>
            <a:r>
              <a:rPr lang="en-US" baseline="0" dirty="0" smtClean="0"/>
              <a:t> Parser that understands Razor is itself a standalone assembly (</a:t>
            </a:r>
            <a:r>
              <a:rPr lang="en-US" dirty="0" smtClean="0"/>
              <a:t>System.Web.Razor.dll)</a:t>
            </a:r>
            <a:r>
              <a:rPr lang="en-US" baseline="0" dirty="0" smtClean="0"/>
              <a:t> which has no dependencies on ASP.NET which means you can use it to parse CSHTML/VBHTML files and produce C#/VB code in any .NET application.  </a:t>
            </a:r>
            <a:endParaRPr lang="en-US" dirty="0" smtClean="0"/>
          </a:p>
        </p:txBody>
      </p:sp>
      <p:sp>
        <p:nvSpPr>
          <p:cNvPr id="4" name="Slide Number Placeholder 3"/>
          <p:cNvSpPr>
            <a:spLocks noGrp="1"/>
          </p:cNvSpPr>
          <p:nvPr>
            <p:ph type="sldNum" sz="quarter" idx="10"/>
          </p:nvPr>
        </p:nvSpPr>
        <p:spPr/>
        <p:txBody>
          <a:bodyPr/>
          <a:lstStyle/>
          <a:p>
            <a:fld id="{D88053AA-761C-4194-BE5B-5E836C7C1428}" type="slidenum">
              <a:rPr lang="en-US" smtClean="0"/>
              <a:t>19</a:t>
            </a:fld>
            <a:endParaRPr lang="en-US"/>
          </a:p>
        </p:txBody>
      </p:sp>
    </p:spTree>
    <p:extLst>
      <p:ext uri="{BB962C8B-B14F-4D97-AF65-F5344CB8AC3E}">
        <p14:creationId xmlns:p14="http://schemas.microsoft.com/office/powerpoint/2010/main" val="70645723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0</a:t>
            </a:fld>
            <a:endParaRPr lang="en-US" dirty="0"/>
          </a:p>
        </p:txBody>
      </p:sp>
    </p:spTree>
    <p:extLst>
      <p:ext uri="{BB962C8B-B14F-4D97-AF65-F5344CB8AC3E}">
        <p14:creationId xmlns:p14="http://schemas.microsoft.com/office/powerpoint/2010/main" val="34626546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21</a:t>
            </a:fld>
            <a:endParaRPr lang="en-US" dirty="0"/>
          </a:p>
        </p:txBody>
      </p:sp>
    </p:spTree>
    <p:extLst>
      <p:ext uri="{BB962C8B-B14F-4D97-AF65-F5344CB8AC3E}">
        <p14:creationId xmlns:p14="http://schemas.microsoft.com/office/powerpoint/2010/main" val="403266939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22</a:t>
            </a:fld>
            <a:endParaRPr lang="en-US" dirty="0"/>
          </a:p>
        </p:txBody>
      </p:sp>
    </p:spTree>
    <p:extLst>
      <p:ext uri="{BB962C8B-B14F-4D97-AF65-F5344CB8AC3E}">
        <p14:creationId xmlns:p14="http://schemas.microsoft.com/office/powerpoint/2010/main" val="62110179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3</a:t>
            </a:fld>
            <a:endParaRPr lang="en-US" dirty="0"/>
          </a:p>
        </p:txBody>
      </p:sp>
    </p:spTree>
    <p:extLst>
      <p:ext uri="{BB962C8B-B14F-4D97-AF65-F5344CB8AC3E}">
        <p14:creationId xmlns:p14="http://schemas.microsoft.com/office/powerpoint/2010/main" val="49133496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1</a:t>
            </a:r>
            <a:r>
              <a:rPr lang="en-US" baseline="0" dirty="0" smtClean="0"/>
              <a:t> minute</a:t>
            </a:r>
          </a:p>
          <a:p>
            <a:endParaRPr lang="en-US" baseline="0" dirty="0" smtClean="0"/>
          </a:p>
          <a:p>
            <a:r>
              <a:rPr lang="en-US" baseline="0" dirty="0" smtClean="0"/>
              <a:t>The transition from code to markup is one of the most elegant things about Razor but there a few rules that are worth knowing about.  </a:t>
            </a:r>
          </a:p>
          <a:p>
            <a:endParaRPr lang="es-AR" baseline="0" dirty="0" smtClean="0"/>
          </a:p>
          <a:p>
            <a:r>
              <a:rPr lang="en-US" b="1" u="sng" baseline="0" noProof="0" dirty="0" smtClean="0"/>
              <a:t>Option</a:t>
            </a:r>
            <a:r>
              <a:rPr lang="es-AR" b="1" u="sng" baseline="0" dirty="0" smtClean="0"/>
              <a:t> 1:</a:t>
            </a:r>
            <a:endParaRPr lang="en-US" b="1" u="sng" baseline="0" dirty="0" smtClean="0"/>
          </a:p>
          <a:p>
            <a:pPr marL="0" indent="0">
              <a:buNone/>
            </a:pPr>
            <a:r>
              <a:rPr lang="en-US" baseline="0" dirty="0" smtClean="0"/>
              <a:t>Code is the primary citizen in a code block, not HTML.  This means the parser will always expect code unless it finds valid opening (and closing) tags. </a:t>
            </a:r>
            <a:r>
              <a:rPr lang="en-US" i="0" baseline="0" dirty="0" smtClean="0"/>
              <a:t>In the first option block you see that after the @{ a name variable is defined. No additional tag is necessary. </a:t>
            </a:r>
          </a:p>
          <a:p>
            <a:pPr marL="0" indent="0">
              <a:buNone/>
            </a:pPr>
            <a:r>
              <a:rPr lang="en-US" i="0" baseline="0" dirty="0" smtClean="0"/>
              <a:t>A &lt;div&gt; section tells Razor that what follows should be taken as literal. Then the @name indicates a variable that needs to be replaced with its value.</a:t>
            </a:r>
          </a:p>
          <a:p>
            <a:pPr marL="0" indent="0">
              <a:buNone/>
            </a:pPr>
            <a:endParaRPr lang="es-AR" baseline="0" dirty="0" smtClean="0"/>
          </a:p>
          <a:p>
            <a:pPr marL="0" indent="0">
              <a:buNone/>
            </a:pPr>
            <a:r>
              <a:rPr lang="en-US" b="1" u="sng" baseline="0" noProof="0" dirty="0" smtClean="0"/>
              <a:t>Option 2:</a:t>
            </a:r>
          </a:p>
          <a:p>
            <a:pPr marL="0" indent="0">
              <a:buNone/>
            </a:pPr>
            <a:r>
              <a:rPr lang="en-US" baseline="0" dirty="0" smtClean="0"/>
              <a:t>Similarly, to explicitly call out text in a code block as HTML, wrap it in a &lt;text&gt; tag</a:t>
            </a:r>
          </a:p>
          <a:p>
            <a:pPr marL="0" indent="0">
              <a:buNone/>
            </a:pPr>
            <a:endParaRPr lang="es-AR"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1" u="sng" baseline="0" noProof="0" dirty="0" smtClean="0"/>
              <a:t>Option 3:</a:t>
            </a:r>
          </a:p>
          <a:p>
            <a:pPr marL="0" indent="0">
              <a:buNone/>
            </a:pPr>
            <a:r>
              <a:rPr lang="en-US" baseline="0" dirty="0" smtClean="0"/>
              <a:t>Single line of output within markup can be denoted by @:</a:t>
            </a:r>
          </a:p>
          <a:p>
            <a:pPr marL="0" marR="0" indent="0" algn="l" defTabSz="914400" rtl="0" eaLnBrk="1" fontAlgn="auto" latinLnBrk="0" hangingPunct="1">
              <a:lnSpc>
                <a:spcPct val="100000"/>
              </a:lnSpc>
              <a:spcBef>
                <a:spcPts val="0"/>
              </a:spcBef>
              <a:spcAft>
                <a:spcPts val="0"/>
              </a:spcAft>
              <a:buClrTx/>
              <a:buSzTx/>
              <a:buFontTx/>
              <a:buNone/>
              <a:tabLst/>
              <a:defRPr/>
            </a:pPr>
            <a:r>
              <a:rPr lang="en-US" i="0" baseline="0" noProof="0" dirty="0" smtClean="0"/>
              <a:t>This option is useful when you don’t want to render an </a:t>
            </a:r>
            <a:r>
              <a:rPr lang="en-US" i="0" dirty="0" smtClean="0"/>
              <a:t>HTML element as part of the output. </a:t>
            </a:r>
            <a:endParaRPr lang="en-US" i="0" baseline="0" dirty="0" smtClean="0"/>
          </a:p>
          <a:p>
            <a:endParaRPr lang="en-US"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Extra Knowledge (Advanced):</a:t>
            </a: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The</a:t>
            </a:r>
            <a:r>
              <a:rPr lang="en-US" baseline="0" dirty="0" smtClean="0"/>
              <a:t> Parser that understands Razor is itself a standalone assembly (</a:t>
            </a:r>
            <a:r>
              <a:rPr lang="en-US" dirty="0" smtClean="0"/>
              <a:t>System.Web.Razor.dll)</a:t>
            </a:r>
            <a:r>
              <a:rPr lang="en-US" baseline="0" dirty="0" smtClean="0"/>
              <a:t> which has no dependencies on ASP.NET which means you can use it to parse CSHTML/VBHTML files and produce C#/VB code in any .NET application.  </a:t>
            </a:r>
            <a:endParaRPr lang="en-US" dirty="0" smtClean="0"/>
          </a:p>
        </p:txBody>
      </p:sp>
      <p:sp>
        <p:nvSpPr>
          <p:cNvPr id="4" name="Slide Number Placeholder 3"/>
          <p:cNvSpPr>
            <a:spLocks noGrp="1"/>
          </p:cNvSpPr>
          <p:nvPr>
            <p:ph type="sldNum" sz="quarter" idx="10"/>
          </p:nvPr>
        </p:nvSpPr>
        <p:spPr/>
        <p:txBody>
          <a:bodyPr/>
          <a:lstStyle/>
          <a:p>
            <a:fld id="{D88053AA-761C-4194-BE5B-5E836C7C1428}" type="slidenum">
              <a:rPr lang="en-US" smtClean="0"/>
              <a:t>23</a:t>
            </a:fld>
            <a:endParaRPr lang="en-US"/>
          </a:p>
        </p:txBody>
      </p:sp>
    </p:spTree>
    <p:extLst>
      <p:ext uri="{BB962C8B-B14F-4D97-AF65-F5344CB8AC3E}">
        <p14:creationId xmlns:p14="http://schemas.microsoft.com/office/powerpoint/2010/main" val="70645723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5</a:t>
            </a:fld>
            <a:endParaRPr lang="en-US" dirty="0"/>
          </a:p>
        </p:txBody>
      </p:sp>
    </p:spTree>
    <p:extLst>
      <p:ext uri="{BB962C8B-B14F-4D97-AF65-F5344CB8AC3E}">
        <p14:creationId xmlns:p14="http://schemas.microsoft.com/office/powerpoint/2010/main" val="34626546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26</a:t>
            </a:fld>
            <a:endParaRPr lang="en-US" dirty="0"/>
          </a:p>
        </p:txBody>
      </p:sp>
    </p:spTree>
    <p:extLst>
      <p:ext uri="{BB962C8B-B14F-4D97-AF65-F5344CB8AC3E}">
        <p14:creationId xmlns:p14="http://schemas.microsoft.com/office/powerpoint/2010/main" val="193022015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7</a:t>
            </a:fld>
            <a:endParaRPr lang="en-US" dirty="0"/>
          </a:p>
        </p:txBody>
      </p:sp>
    </p:spTree>
    <p:extLst>
      <p:ext uri="{BB962C8B-B14F-4D97-AF65-F5344CB8AC3E}">
        <p14:creationId xmlns:p14="http://schemas.microsoft.com/office/powerpoint/2010/main" val="34626546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28</a:t>
            </a:fld>
            <a:endParaRPr lang="en-US" dirty="0"/>
          </a:p>
        </p:txBody>
      </p:sp>
    </p:spTree>
    <p:extLst>
      <p:ext uri="{BB962C8B-B14F-4D97-AF65-F5344CB8AC3E}">
        <p14:creationId xmlns:p14="http://schemas.microsoft.com/office/powerpoint/2010/main" val="104419086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29</a:t>
            </a:fld>
            <a:endParaRPr lang="en-US" dirty="0"/>
          </a:p>
        </p:txBody>
      </p:sp>
    </p:spTree>
    <p:extLst>
      <p:ext uri="{BB962C8B-B14F-4D97-AF65-F5344CB8AC3E}">
        <p14:creationId xmlns:p14="http://schemas.microsoft.com/office/powerpoint/2010/main" val="12841671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0</a:t>
            </a:fld>
            <a:endParaRPr lang="en-US" dirty="0"/>
          </a:p>
        </p:txBody>
      </p:sp>
    </p:spTree>
    <p:extLst>
      <p:ext uri="{BB962C8B-B14F-4D97-AF65-F5344CB8AC3E}">
        <p14:creationId xmlns:p14="http://schemas.microsoft.com/office/powerpoint/2010/main" val="34626546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31</a:t>
            </a:fld>
            <a:endParaRPr lang="en-US" dirty="0"/>
          </a:p>
        </p:txBody>
      </p:sp>
    </p:spTree>
    <p:extLst>
      <p:ext uri="{BB962C8B-B14F-4D97-AF65-F5344CB8AC3E}">
        <p14:creationId xmlns:p14="http://schemas.microsoft.com/office/powerpoint/2010/main" val="37971088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32</a:t>
            </a:fld>
            <a:endParaRPr lang="en-US" dirty="0"/>
          </a:p>
        </p:txBody>
      </p:sp>
    </p:spTree>
    <p:extLst>
      <p:ext uri="{BB962C8B-B14F-4D97-AF65-F5344CB8AC3E}">
        <p14:creationId xmlns:p14="http://schemas.microsoft.com/office/powerpoint/2010/main" val="257923281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33</a:t>
            </a:fld>
            <a:endParaRPr lang="en-US" dirty="0"/>
          </a:p>
        </p:txBody>
      </p:sp>
    </p:spTree>
    <p:extLst>
      <p:ext uri="{BB962C8B-B14F-4D97-AF65-F5344CB8AC3E}">
        <p14:creationId xmlns:p14="http://schemas.microsoft.com/office/powerpoint/2010/main" val="379004896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pPr marL="0" indent="0">
              <a:buFont typeface="+mj-lt"/>
              <a:buNone/>
            </a:pPr>
            <a:endParaRPr lang="en-US" dirty="0"/>
          </a:p>
        </p:txBody>
      </p:sp>
      <p:sp>
        <p:nvSpPr>
          <p:cNvPr id="4" name="Slide Number Placeholder 3"/>
          <p:cNvSpPr>
            <a:spLocks noGrp="1"/>
          </p:cNvSpPr>
          <p:nvPr>
            <p:ph type="sldNum" sz="quarter" idx="10"/>
          </p:nvPr>
        </p:nvSpPr>
        <p:spPr/>
        <p:txBody>
          <a:bodyPr/>
          <a:lstStyle/>
          <a:p>
            <a:fld id="{26C70BA7-54A9-4C9D-A4D9-4CF62DB81B3C}" type="slidenum">
              <a:rPr lang="en-US" smtClean="0"/>
              <a:t>4</a:t>
            </a:fld>
            <a:endParaRPr lang="en-US"/>
          </a:p>
        </p:txBody>
      </p:sp>
    </p:spTree>
    <p:extLst>
      <p:ext uri="{BB962C8B-B14F-4D97-AF65-F5344CB8AC3E}">
        <p14:creationId xmlns:p14="http://schemas.microsoft.com/office/powerpoint/2010/main" val="284630693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t>34</a:t>
            </a:fld>
            <a:endParaRPr lang="en-US" dirty="0"/>
          </a:p>
        </p:txBody>
      </p:sp>
    </p:spTree>
    <p:extLst>
      <p:ext uri="{BB962C8B-B14F-4D97-AF65-F5344CB8AC3E}">
        <p14:creationId xmlns:p14="http://schemas.microsoft.com/office/powerpoint/2010/main" val="93249248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u="sng" dirty="0" smtClean="0"/>
              <a:t>Estimated Time:</a:t>
            </a:r>
            <a:r>
              <a:rPr lang="en-US" dirty="0" smtClean="0"/>
              <a:t> 2 minutes</a:t>
            </a:r>
          </a:p>
          <a:p>
            <a:endParaRPr lang="en-US" dirty="0" smtClean="0"/>
          </a:p>
          <a:p>
            <a:r>
              <a:rPr lang="en-US" dirty="0" smtClean="0"/>
              <a:t>No matter which</a:t>
            </a:r>
            <a:r>
              <a:rPr lang="en-US" baseline="0" dirty="0" smtClean="0"/>
              <a:t> type of developer you are, you get the benefit of the ASP.NET Core runtime, which provides many useful modules that provide functionality that you are likely to need when creating web applications.  For example: Profile, Roles and Membership is important if you want to build in users and security around different parts of your website.</a:t>
            </a:r>
            <a:endParaRPr lang="en-US" dirty="0" smtClean="0"/>
          </a:p>
          <a:p>
            <a:endParaRPr lang="en-US" dirty="0" smtClean="0"/>
          </a:p>
          <a:p>
            <a:r>
              <a:rPr lang="en-US" dirty="0" smtClean="0"/>
              <a:t>[Build x 3]</a:t>
            </a:r>
          </a:p>
          <a:p>
            <a:endParaRPr lang="en-US" dirty="0" smtClean="0"/>
          </a:p>
          <a:p>
            <a:r>
              <a:rPr lang="en-US" dirty="0" smtClean="0"/>
              <a:t>ASP.NET</a:t>
            </a:r>
            <a:r>
              <a:rPr lang="en-US" baseline="0" dirty="0" smtClean="0"/>
              <a:t> Web Forms, ASP.NET MVC and ASP.NET Web Pages are three different approaches to building web applications on the server side with ASP.NET.  They all build on top of the same core runtime that provides them with the same powerful set of modules that web developers can leverage from within their web applications.  </a:t>
            </a:r>
          </a:p>
          <a:p>
            <a:endParaRPr lang="en-US" baseline="0" dirty="0" smtClean="0"/>
          </a:p>
          <a:p>
            <a:r>
              <a:rPr lang="en-US" dirty="0" smtClean="0"/>
              <a:t>ASP.NET Web Forms is great for developers coming from</a:t>
            </a:r>
            <a:r>
              <a:rPr lang="en-US" baseline="0" dirty="0" smtClean="0"/>
              <a:t> desktop application development where they are accustomed to controls, event-driven development and code-behind.  Despite not being concepts that are native to the web, Web Forms achieves this by abstracting away things like maintaining state, form posting and much more.  This ease of development means that developers relinquish a certain amount of control as Web Forms manages communication between the server and client on your behalf.</a:t>
            </a:r>
          </a:p>
          <a:p>
            <a:endParaRPr lang="en-US" baseline="0" dirty="0" smtClean="0"/>
          </a:p>
          <a:p>
            <a:r>
              <a:rPr lang="en-US" baseline="0" dirty="0" smtClean="0"/>
              <a:t>ASP.NET MVC, in contrast, is for developers that like to be in full control of the interactions between client and server and provides a more “raw” approach to what happens in the web application.  Due to its loosely coupled architecture, MVC is also very extensible with many places for developers to customize and plugin components as well write test code easily.</a:t>
            </a:r>
          </a:p>
          <a:p>
            <a:endParaRPr lang="en-US" baseline="0" dirty="0" smtClean="0"/>
          </a:p>
          <a:p>
            <a:r>
              <a:rPr lang="en-US" baseline="0" dirty="0" smtClean="0"/>
              <a:t>Developing in ASP.NET Web Pages is centered around inline code and is similar to PHP or classic ASP in that compilation of your application isn’t required (it is in </a:t>
            </a:r>
            <a:r>
              <a:rPr lang="en-US" baseline="0" dirty="0" err="1" smtClean="0"/>
              <a:t>WebForms</a:t>
            </a:r>
            <a:r>
              <a:rPr lang="en-US" baseline="0" dirty="0" smtClean="0"/>
              <a:t> and MVC).  It is designed to provide the simplest approach to building websites with the fewest number of concepts to learn.</a:t>
            </a:r>
          </a:p>
          <a:p>
            <a:endParaRPr lang="en-US" baseline="0" dirty="0" smtClean="0"/>
          </a:p>
          <a:p>
            <a:r>
              <a:rPr lang="en-US" baseline="0" dirty="0" smtClean="0"/>
              <a:t>[Build x 2]</a:t>
            </a:r>
          </a:p>
          <a:p>
            <a:endParaRPr lang="en-US" baseline="0" dirty="0" smtClean="0"/>
          </a:p>
          <a:p>
            <a:r>
              <a:rPr lang="en-US" baseline="0" dirty="0" smtClean="0"/>
              <a:t>When it comes to controlling the markup that is rendered to the client there are two view engines you may use.  The Web Forms view engine is shared by both Web Forms and MVC and uses the familiar &lt;% %&gt; syntax.  With ASP.NET MVC 3 and ASP.NET Web Pages Microsoft introduced the Razor View Engine which uses a different syntax centered around the @ symbol.  The Razor syntax uses fewer characters to achieve the same things in Web Forms and allows the developer to mix markup and code really easily.</a:t>
            </a:r>
          </a:p>
        </p:txBody>
      </p:sp>
      <p:sp>
        <p:nvSpPr>
          <p:cNvPr id="4" name="Slide Number Placeholder 3"/>
          <p:cNvSpPr>
            <a:spLocks noGrp="1"/>
          </p:cNvSpPr>
          <p:nvPr>
            <p:ph type="sldNum" sz="quarter" idx="10"/>
          </p:nvPr>
        </p:nvSpPr>
        <p:spPr/>
        <p:txBody>
          <a:bodyPr/>
          <a:lstStyle/>
          <a:p>
            <a:fld id="{87A12A5C-4330-4241-88FF-F2EE6603F1FB}" type="slidenum">
              <a:rPr lang="en-US" smtClean="0"/>
              <a:pPr/>
              <a:t>5</a:t>
            </a:fld>
            <a:endParaRPr lang="en-US"/>
          </a:p>
        </p:txBody>
      </p:sp>
    </p:spTree>
    <p:extLst>
      <p:ext uri="{BB962C8B-B14F-4D97-AF65-F5344CB8AC3E}">
        <p14:creationId xmlns:p14="http://schemas.microsoft.com/office/powerpoint/2010/main" val="52867848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6</a:t>
            </a:fld>
            <a:endParaRPr lang="en-US" dirty="0"/>
          </a:p>
        </p:txBody>
      </p:sp>
    </p:spTree>
    <p:extLst>
      <p:ext uri="{BB962C8B-B14F-4D97-AF65-F5344CB8AC3E}">
        <p14:creationId xmlns:p14="http://schemas.microsoft.com/office/powerpoint/2010/main" val="230530420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7</a:t>
            </a:fld>
            <a:endParaRPr lang="en-US" dirty="0"/>
          </a:p>
        </p:txBody>
      </p:sp>
    </p:spTree>
    <p:extLst>
      <p:ext uri="{BB962C8B-B14F-4D97-AF65-F5344CB8AC3E}">
        <p14:creationId xmlns:p14="http://schemas.microsoft.com/office/powerpoint/2010/main" val="137294637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8</a:t>
            </a:fld>
            <a:endParaRPr lang="en-US" dirty="0"/>
          </a:p>
        </p:txBody>
      </p:sp>
    </p:spTree>
    <p:extLst>
      <p:ext uri="{BB962C8B-B14F-4D97-AF65-F5344CB8AC3E}">
        <p14:creationId xmlns:p14="http://schemas.microsoft.com/office/powerpoint/2010/main" val="137294637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9</a:t>
            </a:fld>
            <a:endParaRPr lang="en-US" dirty="0"/>
          </a:p>
        </p:txBody>
      </p:sp>
    </p:spTree>
    <p:extLst>
      <p:ext uri="{BB962C8B-B14F-4D97-AF65-F5344CB8AC3E}">
        <p14:creationId xmlns:p14="http://schemas.microsoft.com/office/powerpoint/2010/main" val="34069226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1</a:t>
            </a:r>
            <a:r>
              <a:rPr lang="en-US" baseline="0" dirty="0" smtClean="0"/>
              <a:t> minute</a:t>
            </a:r>
          </a:p>
          <a:p>
            <a:endParaRPr lang="en-US" baseline="0" dirty="0" smtClean="0"/>
          </a:p>
          <a:p>
            <a:r>
              <a:rPr lang="en-US" baseline="0" dirty="0" smtClean="0"/>
              <a:t>The transition from code to markup is one of the most elegant things about Razor but there a few rules that are worth knowing about.  </a:t>
            </a:r>
          </a:p>
          <a:p>
            <a:endParaRPr lang="es-AR" baseline="0" dirty="0" smtClean="0"/>
          </a:p>
          <a:p>
            <a:r>
              <a:rPr lang="en-US" b="1" u="sng" baseline="0" noProof="0" dirty="0" smtClean="0"/>
              <a:t>Option</a:t>
            </a:r>
            <a:r>
              <a:rPr lang="es-AR" b="1" u="sng" baseline="0" dirty="0" smtClean="0"/>
              <a:t> 1:</a:t>
            </a:r>
            <a:endParaRPr lang="en-US" b="1" u="sng" baseline="0" dirty="0" smtClean="0"/>
          </a:p>
          <a:p>
            <a:pPr marL="0" indent="0">
              <a:buNone/>
            </a:pPr>
            <a:r>
              <a:rPr lang="en-US" baseline="0" dirty="0" smtClean="0"/>
              <a:t>Code is the primary citizen in a code block, not HTML.  This means the parser will always expect code unless it finds valid opening (and closing) tags. </a:t>
            </a:r>
            <a:r>
              <a:rPr lang="en-US" i="0" baseline="0" dirty="0" smtClean="0"/>
              <a:t>In the first option block you see that after the @{ a name variable is defined. No additional tag is necessary. </a:t>
            </a:r>
          </a:p>
          <a:p>
            <a:pPr marL="0" indent="0">
              <a:buNone/>
            </a:pPr>
            <a:r>
              <a:rPr lang="en-US" i="0" baseline="0" dirty="0" smtClean="0"/>
              <a:t>A &lt;div&gt; section tells Razor that what follows should be taken as literal. Then the @name indicates a variable that needs to be replaced with its value.</a:t>
            </a:r>
          </a:p>
          <a:p>
            <a:pPr marL="0" indent="0">
              <a:buNone/>
            </a:pPr>
            <a:endParaRPr lang="es-AR" baseline="0" dirty="0" smtClean="0"/>
          </a:p>
          <a:p>
            <a:pPr marL="0" indent="0">
              <a:buNone/>
            </a:pPr>
            <a:r>
              <a:rPr lang="en-US" b="1" u="sng" baseline="0" noProof="0" dirty="0" smtClean="0"/>
              <a:t>Option 2:</a:t>
            </a:r>
          </a:p>
          <a:p>
            <a:pPr marL="0" indent="0">
              <a:buNone/>
            </a:pPr>
            <a:r>
              <a:rPr lang="en-US" baseline="0" dirty="0" smtClean="0"/>
              <a:t>Similarly, to explicitly call out text in a code block as HTML, wrap it in a &lt;text&gt; tag</a:t>
            </a:r>
          </a:p>
          <a:p>
            <a:pPr marL="0" indent="0">
              <a:buNone/>
            </a:pPr>
            <a:endParaRPr lang="es-AR"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1" u="sng" baseline="0" noProof="0" dirty="0" smtClean="0"/>
              <a:t>Option 3:</a:t>
            </a:r>
          </a:p>
          <a:p>
            <a:pPr marL="0" indent="0">
              <a:buNone/>
            </a:pPr>
            <a:r>
              <a:rPr lang="en-US" baseline="0" dirty="0" smtClean="0"/>
              <a:t>Single line of output within markup can be denoted by @:</a:t>
            </a:r>
          </a:p>
          <a:p>
            <a:pPr marL="0" marR="0" indent="0" algn="l" defTabSz="914400" rtl="0" eaLnBrk="1" fontAlgn="auto" latinLnBrk="0" hangingPunct="1">
              <a:lnSpc>
                <a:spcPct val="100000"/>
              </a:lnSpc>
              <a:spcBef>
                <a:spcPts val="0"/>
              </a:spcBef>
              <a:spcAft>
                <a:spcPts val="0"/>
              </a:spcAft>
              <a:buClrTx/>
              <a:buSzTx/>
              <a:buFontTx/>
              <a:buNone/>
              <a:tabLst/>
              <a:defRPr/>
            </a:pPr>
            <a:r>
              <a:rPr lang="en-US" i="0" baseline="0" noProof="0" dirty="0" smtClean="0"/>
              <a:t>This option is useful when you don’t want to render an </a:t>
            </a:r>
            <a:r>
              <a:rPr lang="en-US" i="0" dirty="0" smtClean="0"/>
              <a:t>HTML element as part of the output. </a:t>
            </a:r>
            <a:endParaRPr lang="en-US" i="0" baseline="0" dirty="0" smtClean="0"/>
          </a:p>
          <a:p>
            <a:endParaRPr lang="en-US"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Extra Knowledge (Advanced):</a:t>
            </a: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The</a:t>
            </a:r>
            <a:r>
              <a:rPr lang="en-US" baseline="0" dirty="0" smtClean="0"/>
              <a:t> Parser that understands Razor is itself a standalone assembly (</a:t>
            </a:r>
            <a:r>
              <a:rPr lang="en-US" dirty="0" smtClean="0"/>
              <a:t>System.Web.Razor.dll)</a:t>
            </a:r>
            <a:r>
              <a:rPr lang="en-US" baseline="0" dirty="0" smtClean="0"/>
              <a:t> which has no dependencies on ASP.NET which means you can use it to parse CSHTML/VBHTML files and produce C#/VB code in any .NET application.  </a:t>
            </a:r>
            <a:endParaRPr lang="en-US" dirty="0" smtClean="0"/>
          </a:p>
        </p:txBody>
      </p:sp>
      <p:sp>
        <p:nvSpPr>
          <p:cNvPr id="4" name="Slide Number Placeholder 3"/>
          <p:cNvSpPr>
            <a:spLocks noGrp="1"/>
          </p:cNvSpPr>
          <p:nvPr>
            <p:ph type="sldNum" sz="quarter" idx="10"/>
          </p:nvPr>
        </p:nvSpPr>
        <p:spPr/>
        <p:txBody>
          <a:bodyPr/>
          <a:lstStyle/>
          <a:p>
            <a:fld id="{D88053AA-761C-4194-BE5B-5E836C7C1428}" type="slidenum">
              <a:rPr lang="en-US" smtClean="0"/>
              <a:t>10</a:t>
            </a:fld>
            <a:endParaRPr lang="en-US"/>
          </a:p>
        </p:txBody>
      </p:sp>
    </p:spTree>
    <p:extLst>
      <p:ext uri="{BB962C8B-B14F-4D97-AF65-F5344CB8AC3E}">
        <p14:creationId xmlns:p14="http://schemas.microsoft.com/office/powerpoint/2010/main" val="70645723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3" y="2234114"/>
            <a:ext cx="8373521"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13" y="4612341"/>
            <a:ext cx="5454333"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grpSp>
        <p:nvGrpSpPr>
          <p:cNvPr id="5" name="Group 4"/>
          <p:cNvGrpSpPr/>
          <p:nvPr userDrawn="1"/>
        </p:nvGrpSpPr>
        <p:grpSpPr>
          <a:xfrm>
            <a:off x="519113" y="241940"/>
            <a:ext cx="2411374" cy="387798"/>
            <a:chOff x="517525" y="5956427"/>
            <a:chExt cx="1489796" cy="775597"/>
          </a:xfrm>
        </p:grpSpPr>
        <p:sp>
          <p:nvSpPr>
            <p:cNvPr id="6" name="TextBox 5"/>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8" name="Rectangle 7"/>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2163483488"/>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1953" y="2008094"/>
            <a:ext cx="2269077"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821308525"/>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4572" y="2242931"/>
            <a:ext cx="3176914"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2433982393"/>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3609" y="1932604"/>
            <a:ext cx="3013332"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576417092"/>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2758" y="1905000"/>
            <a:ext cx="1277596"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861767610"/>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0"/>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grpSp>
        <p:nvGrpSpPr>
          <p:cNvPr id="4" name="Group 3"/>
          <p:cNvGrpSpPr/>
          <p:nvPr userDrawn="1"/>
        </p:nvGrpSpPr>
        <p:grpSpPr>
          <a:xfrm>
            <a:off x="9264689" y="6225727"/>
            <a:ext cx="2411374" cy="387798"/>
            <a:chOff x="517525" y="5956427"/>
            <a:chExt cx="1489796" cy="775597"/>
          </a:xfrm>
        </p:grpSpPr>
        <p:sp>
          <p:nvSpPr>
            <p:cNvPr id="5" name="TextBox 4"/>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6" name="Rectangle 5"/>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3900536183"/>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1174" y="3140274"/>
            <a:ext cx="3546476" cy="577452"/>
          </a:xfrm>
          <a:prstGeom prst="rect">
            <a:avLst/>
          </a:prstGeom>
          <a:noFill/>
          <a:ln>
            <a:noFill/>
          </a:ln>
        </p:spPr>
      </p:pic>
      <p:sp>
        <p:nvSpPr>
          <p:cNvPr id="3" name="Text Box 3"/>
          <p:cNvSpPr txBox="1">
            <a:spLocks noChangeArrowheads="1"/>
          </p:cNvSpPr>
          <p:nvPr userDrawn="1"/>
        </p:nvSpPr>
        <p:spPr bwMode="blackWhite">
          <a:xfrm>
            <a:off x="507868" y="6083573"/>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chemeClr val="bg1">
                    <a:alpha val="99000"/>
                  </a:schemeClr>
                </a:solidFill>
                <a:latin typeface="Segoe UI" pitchFamily="34" charset="0"/>
                <a:cs typeface="Arial" charset="0"/>
              </a:rPr>
              <a:t>© </a:t>
            </a:r>
            <a:r>
              <a:rPr lang="en-US" sz="700" dirty="0" smtClean="0">
                <a:solidFill>
                  <a:schemeClr val="bg1">
                    <a:alpha val="99000"/>
                  </a:schemeClr>
                </a:solidFill>
                <a:latin typeface="Segoe UI" pitchFamily="34" charset="0"/>
                <a:cs typeface="Arial" charset="0"/>
              </a:rPr>
              <a:t>2012 Microsoft </a:t>
            </a:r>
            <a:r>
              <a:rPr lang="en-US" sz="700" dirty="0">
                <a:solidFill>
                  <a:schemeClr val="bg1">
                    <a:alpha val="99000"/>
                  </a:schemeClr>
                </a:solidFill>
                <a:latin typeface="Segoe UI" pitchFamily="34" charset="0"/>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chemeClr val="bg1">
                    <a:alpha val="99000"/>
                  </a:schemeClr>
                </a:solidFill>
                <a:latin typeface="Segoe UI" pitchFamily="34" charset="0"/>
                <a:cs typeface="Arial" charset="0"/>
              </a:rPr>
              <a:t>MICROSOFT </a:t>
            </a:r>
            <a:r>
              <a:rPr lang="en-US" sz="700" dirty="0">
                <a:solidFill>
                  <a:schemeClr val="bg1">
                    <a:alpha val="99000"/>
                  </a:schemeClr>
                </a:solidFill>
                <a:latin typeface="Segoe UI" pitchFamily="34" charset="0"/>
                <a:cs typeface="Arial" charset="0"/>
              </a:rPr>
              <a:t>MAKES NO WARRANTIES, EXPRESS, IMPLIED OR STATUTORY, AS TO THE INFORMATION IN THIS PRESENTATION.</a:t>
            </a:r>
          </a:p>
        </p:txBody>
      </p:sp>
    </p:spTree>
    <p:extLst>
      <p:ext uri="{BB962C8B-B14F-4D97-AF65-F5344CB8AC3E}">
        <p14:creationId xmlns:p14="http://schemas.microsoft.com/office/powerpoint/2010/main" val="2549922664"/>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764" y="2892710"/>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763" y="4343400"/>
            <a:ext cx="7513637"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6"/>
          </a:xfrm>
          <a:prstGeom prst="rect">
            <a:avLst/>
          </a:prstGeom>
          <a:noFill/>
          <a:ln>
            <a:noFill/>
          </a:ln>
        </p:spPr>
      </p:pic>
      <p:grpSp>
        <p:nvGrpSpPr>
          <p:cNvPr id="6" name="Group 5"/>
          <p:cNvGrpSpPr/>
          <p:nvPr userDrawn="1"/>
        </p:nvGrpSpPr>
        <p:grpSpPr>
          <a:xfrm>
            <a:off x="519113" y="241940"/>
            <a:ext cx="2411374" cy="387798"/>
            <a:chOff x="517525" y="5956427"/>
            <a:chExt cx="1489796" cy="775597"/>
          </a:xfrm>
        </p:grpSpPr>
        <p:sp>
          <p:nvSpPr>
            <p:cNvPr id="8" name="TextBox 7"/>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9" name="Rectangle 8"/>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3517780638"/>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73929649"/>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6"/>
            <a:ext cx="12188826"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2896729"/>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519114" y="1905000"/>
            <a:ext cx="11149012" cy="1618905"/>
          </a:xfrm>
        </p:spPr>
        <p:txBody>
          <a:bodyPr/>
          <a:lstStyle>
            <a:lvl1pPr>
              <a:lnSpc>
                <a:spcPct val="90000"/>
              </a:lnSpc>
              <a:defRPr sz="2400"/>
            </a:lvl1pPr>
            <a:lvl2pPr>
              <a:lnSpc>
                <a:spcPct val="90000"/>
              </a:lnSpc>
              <a:defRPr sz="2000"/>
            </a:lvl2pPr>
            <a:lvl3pPr>
              <a:lnSpc>
                <a:spcPct val="90000"/>
              </a:lnSpc>
              <a:defRPr sz="1800"/>
            </a:lvl3pPr>
            <a:lvl4pPr>
              <a:lnSpc>
                <a:spcPct val="90000"/>
              </a:lnSpc>
              <a:defRPr sz="1800"/>
            </a:lvl4pPr>
            <a:lvl5pPr>
              <a:lnSpc>
                <a:spcPct val="90000"/>
              </a:lnSpc>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078997337"/>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505028237"/>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3006485161"/>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976391211"/>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7" y="2266796"/>
            <a:ext cx="5484971"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6"/>
            <a:ext cx="5486400"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grpSp>
        <p:nvGrpSpPr>
          <p:cNvPr id="8" name="Group 7"/>
          <p:cNvGrpSpPr/>
          <p:nvPr userDrawn="1"/>
        </p:nvGrpSpPr>
        <p:grpSpPr>
          <a:xfrm>
            <a:off x="517525" y="6335971"/>
            <a:ext cx="1768475" cy="276999"/>
            <a:chOff x="517525" y="5956427"/>
            <a:chExt cx="1768475" cy="276999"/>
          </a:xfrm>
        </p:grpSpPr>
        <p:sp>
          <p:nvSpPr>
            <p:cNvPr id="9" name="TextBox 8"/>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10" name="Rectangle 9"/>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3597595036"/>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grpSp>
        <p:nvGrpSpPr>
          <p:cNvPr id="4" name="Group 3"/>
          <p:cNvGrpSpPr/>
          <p:nvPr userDrawn="1"/>
        </p:nvGrpSpPr>
        <p:grpSpPr>
          <a:xfrm>
            <a:off x="517525" y="6335971"/>
            <a:ext cx="1768475" cy="276999"/>
            <a:chOff x="517525" y="5956427"/>
            <a:chExt cx="1768475" cy="276999"/>
          </a:xfrm>
        </p:grpSpPr>
        <p:sp>
          <p:nvSpPr>
            <p:cNvPr id="5" name="TextBox 4"/>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6" name="Rectangle 5"/>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1833870189"/>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pSp>
        <p:nvGrpSpPr>
          <p:cNvPr id="3" name="Group 2"/>
          <p:cNvGrpSpPr/>
          <p:nvPr userDrawn="1"/>
        </p:nvGrpSpPr>
        <p:grpSpPr>
          <a:xfrm>
            <a:off x="517525" y="6335971"/>
            <a:ext cx="1768475" cy="276999"/>
            <a:chOff x="517525" y="5956427"/>
            <a:chExt cx="1768475" cy="276999"/>
          </a:xfrm>
        </p:grpSpPr>
        <p:sp>
          <p:nvSpPr>
            <p:cNvPr id="4" name="TextBox 3"/>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5" name="Rectangle 4"/>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4230898258"/>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4" y="3417661"/>
            <a:ext cx="6945312"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6" name="Freeform 11"/>
          <p:cNvSpPr>
            <a:spLocks noEditPoints="1"/>
          </p:cNvSpPr>
          <p:nvPr userDrawn="1"/>
        </p:nvSpPr>
        <p:spPr bwMode="black">
          <a:xfrm>
            <a:off x="906082" y="2883795"/>
            <a:ext cx="2453963" cy="2309611"/>
          </a:xfrm>
          <a:custGeom>
            <a:avLst/>
            <a:gdLst>
              <a:gd name="T0" fmla="*/ 1137 w 1313"/>
              <a:gd name="T1" fmla="*/ 396 h 1238"/>
              <a:gd name="T2" fmla="*/ 1185 w 1313"/>
              <a:gd name="T3" fmla="*/ 553 h 1238"/>
              <a:gd name="T4" fmla="*/ 1069 w 1313"/>
              <a:gd name="T5" fmla="*/ 567 h 1238"/>
              <a:gd name="T6" fmla="*/ 960 w 1313"/>
              <a:gd name="T7" fmla="*/ 445 h 1238"/>
              <a:gd name="T8" fmla="*/ 960 w 1313"/>
              <a:gd name="T9" fmla="*/ 284 h 1238"/>
              <a:gd name="T10" fmla="*/ 1144 w 1313"/>
              <a:gd name="T11" fmla="*/ 219 h 1238"/>
              <a:gd name="T12" fmla="*/ 1245 w 1313"/>
              <a:gd name="T13" fmla="*/ 346 h 1238"/>
              <a:gd name="T14" fmla="*/ 1258 w 1313"/>
              <a:gd name="T15" fmla="*/ 463 h 1238"/>
              <a:gd name="T16" fmla="*/ 1198 w 1313"/>
              <a:gd name="T17" fmla="*/ 341 h 1238"/>
              <a:gd name="T18" fmla="*/ 800 w 1313"/>
              <a:gd name="T19" fmla="*/ 175 h 1238"/>
              <a:gd name="T20" fmla="*/ 834 w 1313"/>
              <a:gd name="T21" fmla="*/ 405 h 1238"/>
              <a:gd name="T22" fmla="*/ 659 w 1313"/>
              <a:gd name="T23" fmla="*/ 320 h 1238"/>
              <a:gd name="T24" fmla="*/ 677 w 1313"/>
              <a:gd name="T25" fmla="*/ 159 h 1238"/>
              <a:gd name="T26" fmla="*/ 798 w 1313"/>
              <a:gd name="T27" fmla="*/ 52 h 1238"/>
              <a:gd name="T28" fmla="*/ 958 w 1313"/>
              <a:gd name="T29" fmla="*/ 52 h 1238"/>
              <a:gd name="T30" fmla="*/ 1024 w 1313"/>
              <a:gd name="T31" fmla="*/ 236 h 1238"/>
              <a:gd name="T32" fmla="*/ 941 w 1313"/>
              <a:gd name="T33" fmla="*/ 366 h 1238"/>
              <a:gd name="T34" fmla="*/ 912 w 1313"/>
              <a:gd name="T35" fmla="*/ 123 h 1238"/>
              <a:gd name="T36" fmla="*/ 0 w 1313"/>
              <a:gd name="T37" fmla="*/ 451 h 1238"/>
              <a:gd name="T38" fmla="*/ 179 w 1313"/>
              <a:gd name="T39" fmla="*/ 451 h 1238"/>
              <a:gd name="T40" fmla="*/ 264 w 1313"/>
              <a:gd name="T41" fmla="*/ 451 h 1238"/>
              <a:gd name="T42" fmla="*/ 349 w 1313"/>
              <a:gd name="T43" fmla="*/ 451 h 1238"/>
              <a:gd name="T44" fmla="*/ 434 w 1313"/>
              <a:gd name="T45" fmla="*/ 451 h 1238"/>
              <a:gd name="T46" fmla="*/ 519 w 1313"/>
              <a:gd name="T47" fmla="*/ 451 h 1238"/>
              <a:gd name="T48" fmla="*/ 604 w 1313"/>
              <a:gd name="T49" fmla="*/ 451 h 1238"/>
              <a:gd name="T50" fmla="*/ 690 w 1313"/>
              <a:gd name="T51" fmla="*/ 451 h 1238"/>
              <a:gd name="T52" fmla="*/ 775 w 1313"/>
              <a:gd name="T53" fmla="*/ 451 h 1238"/>
              <a:gd name="T54" fmla="*/ 682 w 1313"/>
              <a:gd name="T55" fmla="*/ 949 h 1238"/>
              <a:gd name="T56" fmla="*/ 703 w 1313"/>
              <a:gd name="T57" fmla="*/ 1069 h 1238"/>
              <a:gd name="T58" fmla="*/ 377 w 1313"/>
              <a:gd name="T59" fmla="*/ 1196 h 1238"/>
              <a:gd name="T60" fmla="*/ 357 w 1313"/>
              <a:gd name="T61" fmla="*/ 1090 h 1238"/>
              <a:gd name="T62" fmla="*/ 540 w 1313"/>
              <a:gd name="T63" fmla="*/ 1196 h 1238"/>
              <a:gd name="T64" fmla="*/ 519 w 1313"/>
              <a:gd name="T65" fmla="*/ 949 h 1238"/>
              <a:gd name="T66" fmla="*/ 357 w 1313"/>
              <a:gd name="T67" fmla="*/ 949 h 1238"/>
              <a:gd name="T68" fmla="*/ 194 w 1313"/>
              <a:gd name="T69" fmla="*/ 949 h 1238"/>
              <a:gd name="T70" fmla="*/ 52 w 1313"/>
              <a:gd name="T71" fmla="*/ 1090 h 1238"/>
              <a:gd name="T72" fmla="*/ 845 w 1313"/>
              <a:gd name="T73" fmla="*/ 1196 h 1238"/>
              <a:gd name="T74" fmla="*/ 845 w 1313"/>
              <a:gd name="T75" fmla="*/ 808 h 1238"/>
              <a:gd name="T76" fmla="*/ 682 w 1313"/>
              <a:gd name="T77" fmla="*/ 808 h 1238"/>
              <a:gd name="T78" fmla="*/ 519 w 1313"/>
              <a:gd name="T79" fmla="*/ 808 h 1238"/>
              <a:gd name="T80" fmla="*/ 357 w 1313"/>
              <a:gd name="T81" fmla="*/ 808 h 1238"/>
              <a:gd name="T82" fmla="*/ 194 w 1313"/>
              <a:gd name="T83" fmla="*/ 808 h 1238"/>
              <a:gd name="T84" fmla="*/ 845 w 1313"/>
              <a:gd name="T85" fmla="*/ 668 h 1238"/>
              <a:gd name="T86" fmla="*/ 682 w 1313"/>
              <a:gd name="T87" fmla="*/ 668 h 1238"/>
              <a:gd name="T88" fmla="*/ 519 w 1313"/>
              <a:gd name="T89" fmla="*/ 668 h 1238"/>
              <a:gd name="T90" fmla="*/ 357 w 1313"/>
              <a:gd name="T91" fmla="*/ 668 h 1238"/>
              <a:gd name="T92" fmla="*/ 194 w 1313"/>
              <a:gd name="T93" fmla="*/ 668 h 1238"/>
              <a:gd name="T94" fmla="*/ 718 w 1313"/>
              <a:gd name="T95" fmla="*/ 493 h 1238"/>
              <a:gd name="T96" fmla="*/ 633 w 1313"/>
              <a:gd name="T97" fmla="*/ 493 h 1238"/>
              <a:gd name="T98" fmla="*/ 548 w 1313"/>
              <a:gd name="T99" fmla="*/ 493 h 1238"/>
              <a:gd name="T100" fmla="*/ 463 w 1313"/>
              <a:gd name="T101" fmla="*/ 493 h 1238"/>
              <a:gd name="T102" fmla="*/ 378 w 1313"/>
              <a:gd name="T103" fmla="*/ 493 h 1238"/>
              <a:gd name="T104" fmla="*/ 292 w 1313"/>
              <a:gd name="T105" fmla="*/ 493 h 1238"/>
              <a:gd name="T106" fmla="*/ 207 w 1313"/>
              <a:gd name="T107" fmla="*/ 493 h 1238"/>
              <a:gd name="T108" fmla="*/ 122 w 1313"/>
              <a:gd name="T109" fmla="*/ 493 h 1238"/>
              <a:gd name="T110" fmla="*/ 775 w 1313"/>
              <a:gd name="T111" fmla="*/ 493 h 1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13" h="1238">
                <a:moveTo>
                  <a:pt x="1137" y="396"/>
                </a:moveTo>
                <a:cubicBezTo>
                  <a:pt x="1150" y="411"/>
                  <a:pt x="1150" y="433"/>
                  <a:pt x="1136" y="447"/>
                </a:cubicBezTo>
                <a:cubicBezTo>
                  <a:pt x="1120" y="461"/>
                  <a:pt x="1097" y="459"/>
                  <a:pt x="1084" y="444"/>
                </a:cubicBezTo>
                <a:cubicBezTo>
                  <a:pt x="1071" y="429"/>
                  <a:pt x="1071" y="407"/>
                  <a:pt x="1087" y="393"/>
                </a:cubicBezTo>
                <a:cubicBezTo>
                  <a:pt x="1102" y="379"/>
                  <a:pt x="1124" y="382"/>
                  <a:pt x="1137" y="396"/>
                </a:cubicBezTo>
                <a:close/>
                <a:moveTo>
                  <a:pt x="1258" y="463"/>
                </a:moveTo>
                <a:cubicBezTo>
                  <a:pt x="1255" y="475"/>
                  <a:pt x="1246" y="494"/>
                  <a:pt x="1234" y="509"/>
                </a:cubicBezTo>
                <a:cubicBezTo>
                  <a:pt x="1260" y="555"/>
                  <a:pt x="1260" y="555"/>
                  <a:pt x="1260" y="555"/>
                </a:cubicBezTo>
                <a:cubicBezTo>
                  <a:pt x="1254" y="560"/>
                  <a:pt x="1228" y="584"/>
                  <a:pt x="1228" y="584"/>
                </a:cubicBezTo>
                <a:cubicBezTo>
                  <a:pt x="1185" y="553"/>
                  <a:pt x="1185" y="553"/>
                  <a:pt x="1185" y="553"/>
                </a:cubicBezTo>
                <a:cubicBezTo>
                  <a:pt x="1184" y="555"/>
                  <a:pt x="1184" y="555"/>
                  <a:pt x="1184" y="555"/>
                </a:cubicBezTo>
                <a:cubicBezTo>
                  <a:pt x="1174" y="561"/>
                  <a:pt x="1154" y="568"/>
                  <a:pt x="1136" y="571"/>
                </a:cubicBezTo>
                <a:cubicBezTo>
                  <a:pt x="1121" y="623"/>
                  <a:pt x="1121" y="623"/>
                  <a:pt x="1121" y="623"/>
                </a:cubicBezTo>
                <a:cubicBezTo>
                  <a:pt x="1113" y="621"/>
                  <a:pt x="1078" y="619"/>
                  <a:pt x="1078" y="619"/>
                </a:cubicBezTo>
                <a:cubicBezTo>
                  <a:pt x="1069" y="567"/>
                  <a:pt x="1069" y="567"/>
                  <a:pt x="1069" y="567"/>
                </a:cubicBezTo>
                <a:cubicBezTo>
                  <a:pt x="1057" y="564"/>
                  <a:pt x="1036" y="556"/>
                  <a:pt x="1022" y="545"/>
                </a:cubicBezTo>
                <a:cubicBezTo>
                  <a:pt x="975" y="570"/>
                  <a:pt x="975" y="570"/>
                  <a:pt x="975" y="570"/>
                </a:cubicBezTo>
                <a:cubicBezTo>
                  <a:pt x="970" y="565"/>
                  <a:pt x="946" y="538"/>
                  <a:pt x="946" y="538"/>
                </a:cubicBezTo>
                <a:cubicBezTo>
                  <a:pt x="976" y="495"/>
                  <a:pt x="976" y="495"/>
                  <a:pt x="976" y="495"/>
                </a:cubicBezTo>
                <a:cubicBezTo>
                  <a:pt x="971" y="484"/>
                  <a:pt x="961" y="464"/>
                  <a:pt x="960" y="445"/>
                </a:cubicBezTo>
                <a:cubicBezTo>
                  <a:pt x="909" y="430"/>
                  <a:pt x="909" y="430"/>
                  <a:pt x="909" y="430"/>
                </a:cubicBezTo>
                <a:cubicBezTo>
                  <a:pt x="908" y="422"/>
                  <a:pt x="910" y="387"/>
                  <a:pt x="910" y="387"/>
                </a:cubicBezTo>
                <a:cubicBezTo>
                  <a:pt x="963" y="377"/>
                  <a:pt x="963" y="377"/>
                  <a:pt x="963" y="377"/>
                </a:cubicBezTo>
                <a:cubicBezTo>
                  <a:pt x="971" y="350"/>
                  <a:pt x="972" y="349"/>
                  <a:pt x="986" y="330"/>
                </a:cubicBezTo>
                <a:cubicBezTo>
                  <a:pt x="960" y="284"/>
                  <a:pt x="960" y="284"/>
                  <a:pt x="960" y="284"/>
                </a:cubicBezTo>
                <a:cubicBezTo>
                  <a:pt x="966" y="279"/>
                  <a:pt x="992" y="255"/>
                  <a:pt x="992" y="255"/>
                </a:cubicBezTo>
                <a:cubicBezTo>
                  <a:pt x="1036" y="285"/>
                  <a:pt x="1036" y="285"/>
                  <a:pt x="1036" y="285"/>
                </a:cubicBezTo>
                <a:cubicBezTo>
                  <a:pt x="1047" y="279"/>
                  <a:pt x="1066" y="271"/>
                  <a:pt x="1085" y="270"/>
                </a:cubicBezTo>
                <a:cubicBezTo>
                  <a:pt x="1100" y="218"/>
                  <a:pt x="1100" y="218"/>
                  <a:pt x="1100" y="218"/>
                </a:cubicBezTo>
                <a:cubicBezTo>
                  <a:pt x="1107" y="218"/>
                  <a:pt x="1144" y="219"/>
                  <a:pt x="1144" y="219"/>
                </a:cubicBezTo>
                <a:cubicBezTo>
                  <a:pt x="1153" y="273"/>
                  <a:pt x="1153" y="273"/>
                  <a:pt x="1153" y="273"/>
                </a:cubicBezTo>
                <a:cubicBezTo>
                  <a:pt x="1180" y="281"/>
                  <a:pt x="1182" y="280"/>
                  <a:pt x="1199" y="295"/>
                </a:cubicBezTo>
                <a:cubicBezTo>
                  <a:pt x="1245" y="270"/>
                  <a:pt x="1245" y="270"/>
                  <a:pt x="1245" y="270"/>
                </a:cubicBezTo>
                <a:cubicBezTo>
                  <a:pt x="1251" y="276"/>
                  <a:pt x="1274" y="301"/>
                  <a:pt x="1274" y="301"/>
                </a:cubicBezTo>
                <a:cubicBezTo>
                  <a:pt x="1245" y="346"/>
                  <a:pt x="1245" y="346"/>
                  <a:pt x="1245" y="346"/>
                </a:cubicBezTo>
                <a:cubicBezTo>
                  <a:pt x="1251" y="355"/>
                  <a:pt x="1259" y="376"/>
                  <a:pt x="1262" y="395"/>
                </a:cubicBezTo>
                <a:cubicBezTo>
                  <a:pt x="1313" y="409"/>
                  <a:pt x="1313" y="409"/>
                  <a:pt x="1313" y="409"/>
                </a:cubicBezTo>
                <a:cubicBezTo>
                  <a:pt x="1312" y="417"/>
                  <a:pt x="1311" y="453"/>
                  <a:pt x="1311" y="453"/>
                </a:cubicBezTo>
                <a:cubicBezTo>
                  <a:pt x="1259" y="462"/>
                  <a:pt x="1259" y="462"/>
                  <a:pt x="1259" y="462"/>
                </a:cubicBezTo>
                <a:lnTo>
                  <a:pt x="1258" y="463"/>
                </a:lnTo>
                <a:close/>
                <a:moveTo>
                  <a:pt x="1198" y="341"/>
                </a:moveTo>
                <a:cubicBezTo>
                  <a:pt x="1154" y="292"/>
                  <a:pt x="1079" y="288"/>
                  <a:pt x="1031" y="331"/>
                </a:cubicBezTo>
                <a:cubicBezTo>
                  <a:pt x="982" y="376"/>
                  <a:pt x="978" y="450"/>
                  <a:pt x="1023" y="499"/>
                </a:cubicBezTo>
                <a:cubicBezTo>
                  <a:pt x="1066" y="547"/>
                  <a:pt x="1141" y="551"/>
                  <a:pt x="1190" y="507"/>
                </a:cubicBezTo>
                <a:cubicBezTo>
                  <a:pt x="1238" y="464"/>
                  <a:pt x="1242" y="389"/>
                  <a:pt x="1198" y="341"/>
                </a:cubicBezTo>
                <a:close/>
                <a:moveTo>
                  <a:pt x="800" y="175"/>
                </a:moveTo>
                <a:cubicBezTo>
                  <a:pt x="784" y="190"/>
                  <a:pt x="784" y="212"/>
                  <a:pt x="797" y="227"/>
                </a:cubicBezTo>
                <a:cubicBezTo>
                  <a:pt x="811" y="241"/>
                  <a:pt x="833" y="244"/>
                  <a:pt x="849" y="229"/>
                </a:cubicBezTo>
                <a:cubicBezTo>
                  <a:pt x="863" y="216"/>
                  <a:pt x="863" y="194"/>
                  <a:pt x="850" y="179"/>
                </a:cubicBezTo>
                <a:cubicBezTo>
                  <a:pt x="837" y="164"/>
                  <a:pt x="815" y="162"/>
                  <a:pt x="800" y="175"/>
                </a:cubicBezTo>
                <a:close/>
                <a:moveTo>
                  <a:pt x="941" y="366"/>
                </a:moveTo>
                <a:cubicBezTo>
                  <a:pt x="898" y="336"/>
                  <a:pt x="898" y="336"/>
                  <a:pt x="898" y="336"/>
                </a:cubicBezTo>
                <a:cubicBezTo>
                  <a:pt x="897" y="337"/>
                  <a:pt x="897" y="337"/>
                  <a:pt x="897" y="337"/>
                </a:cubicBezTo>
                <a:cubicBezTo>
                  <a:pt x="887" y="344"/>
                  <a:pt x="867" y="351"/>
                  <a:pt x="849" y="353"/>
                </a:cubicBezTo>
                <a:cubicBezTo>
                  <a:pt x="834" y="405"/>
                  <a:pt x="834" y="405"/>
                  <a:pt x="834" y="405"/>
                </a:cubicBezTo>
                <a:cubicBezTo>
                  <a:pt x="826" y="404"/>
                  <a:pt x="791" y="402"/>
                  <a:pt x="791" y="402"/>
                </a:cubicBezTo>
                <a:cubicBezTo>
                  <a:pt x="782" y="350"/>
                  <a:pt x="782" y="350"/>
                  <a:pt x="782" y="350"/>
                </a:cubicBezTo>
                <a:cubicBezTo>
                  <a:pt x="770" y="347"/>
                  <a:pt x="749" y="339"/>
                  <a:pt x="735" y="328"/>
                </a:cubicBezTo>
                <a:cubicBezTo>
                  <a:pt x="688" y="352"/>
                  <a:pt x="688" y="352"/>
                  <a:pt x="688" y="352"/>
                </a:cubicBezTo>
                <a:cubicBezTo>
                  <a:pt x="683" y="347"/>
                  <a:pt x="659" y="320"/>
                  <a:pt x="659" y="320"/>
                </a:cubicBezTo>
                <a:cubicBezTo>
                  <a:pt x="689" y="277"/>
                  <a:pt x="689" y="277"/>
                  <a:pt x="689" y="277"/>
                </a:cubicBezTo>
                <a:cubicBezTo>
                  <a:pt x="684" y="266"/>
                  <a:pt x="675" y="246"/>
                  <a:pt x="673" y="227"/>
                </a:cubicBezTo>
                <a:cubicBezTo>
                  <a:pt x="622" y="213"/>
                  <a:pt x="622" y="213"/>
                  <a:pt x="622" y="213"/>
                </a:cubicBezTo>
                <a:cubicBezTo>
                  <a:pt x="622" y="205"/>
                  <a:pt x="623" y="170"/>
                  <a:pt x="623" y="170"/>
                </a:cubicBezTo>
                <a:cubicBezTo>
                  <a:pt x="677" y="159"/>
                  <a:pt x="677" y="159"/>
                  <a:pt x="677" y="159"/>
                </a:cubicBezTo>
                <a:cubicBezTo>
                  <a:pt x="684" y="133"/>
                  <a:pt x="685" y="132"/>
                  <a:pt x="699" y="113"/>
                </a:cubicBezTo>
                <a:cubicBezTo>
                  <a:pt x="673" y="67"/>
                  <a:pt x="673" y="67"/>
                  <a:pt x="673" y="67"/>
                </a:cubicBezTo>
                <a:cubicBezTo>
                  <a:pt x="679" y="61"/>
                  <a:pt x="705" y="38"/>
                  <a:pt x="705" y="38"/>
                </a:cubicBezTo>
                <a:cubicBezTo>
                  <a:pt x="749" y="67"/>
                  <a:pt x="749" y="67"/>
                  <a:pt x="749" y="67"/>
                </a:cubicBezTo>
                <a:cubicBezTo>
                  <a:pt x="760" y="62"/>
                  <a:pt x="779" y="53"/>
                  <a:pt x="798" y="52"/>
                </a:cubicBezTo>
                <a:cubicBezTo>
                  <a:pt x="814" y="0"/>
                  <a:pt x="814" y="0"/>
                  <a:pt x="814" y="0"/>
                </a:cubicBezTo>
                <a:cubicBezTo>
                  <a:pt x="821" y="1"/>
                  <a:pt x="857" y="1"/>
                  <a:pt x="857" y="1"/>
                </a:cubicBezTo>
                <a:cubicBezTo>
                  <a:pt x="866" y="56"/>
                  <a:pt x="866" y="56"/>
                  <a:pt x="866" y="56"/>
                </a:cubicBezTo>
                <a:cubicBezTo>
                  <a:pt x="893" y="64"/>
                  <a:pt x="895" y="63"/>
                  <a:pt x="913" y="78"/>
                </a:cubicBezTo>
                <a:cubicBezTo>
                  <a:pt x="958" y="52"/>
                  <a:pt x="958" y="52"/>
                  <a:pt x="958" y="52"/>
                </a:cubicBezTo>
                <a:cubicBezTo>
                  <a:pt x="964" y="58"/>
                  <a:pt x="987" y="84"/>
                  <a:pt x="987" y="84"/>
                </a:cubicBezTo>
                <a:cubicBezTo>
                  <a:pt x="958" y="128"/>
                  <a:pt x="958" y="128"/>
                  <a:pt x="958" y="128"/>
                </a:cubicBezTo>
                <a:cubicBezTo>
                  <a:pt x="965" y="138"/>
                  <a:pt x="972" y="158"/>
                  <a:pt x="976" y="177"/>
                </a:cubicBezTo>
                <a:cubicBezTo>
                  <a:pt x="1026" y="191"/>
                  <a:pt x="1026" y="191"/>
                  <a:pt x="1026" y="191"/>
                </a:cubicBezTo>
                <a:cubicBezTo>
                  <a:pt x="1025" y="199"/>
                  <a:pt x="1024" y="236"/>
                  <a:pt x="1024" y="236"/>
                </a:cubicBezTo>
                <a:cubicBezTo>
                  <a:pt x="972" y="245"/>
                  <a:pt x="972" y="245"/>
                  <a:pt x="972" y="245"/>
                </a:cubicBezTo>
                <a:cubicBezTo>
                  <a:pt x="971" y="246"/>
                  <a:pt x="971" y="246"/>
                  <a:pt x="971" y="246"/>
                </a:cubicBezTo>
                <a:cubicBezTo>
                  <a:pt x="968" y="257"/>
                  <a:pt x="959" y="277"/>
                  <a:pt x="947" y="292"/>
                </a:cubicBezTo>
                <a:cubicBezTo>
                  <a:pt x="973" y="337"/>
                  <a:pt x="973" y="337"/>
                  <a:pt x="973" y="337"/>
                </a:cubicBezTo>
                <a:cubicBezTo>
                  <a:pt x="967" y="343"/>
                  <a:pt x="941" y="366"/>
                  <a:pt x="941" y="366"/>
                </a:cubicBezTo>
                <a:close/>
                <a:moveTo>
                  <a:pt x="912" y="123"/>
                </a:moveTo>
                <a:cubicBezTo>
                  <a:pt x="867" y="74"/>
                  <a:pt x="792" y="71"/>
                  <a:pt x="745" y="114"/>
                </a:cubicBezTo>
                <a:cubicBezTo>
                  <a:pt x="695" y="158"/>
                  <a:pt x="692" y="233"/>
                  <a:pt x="736" y="282"/>
                </a:cubicBezTo>
                <a:cubicBezTo>
                  <a:pt x="779" y="330"/>
                  <a:pt x="854" y="334"/>
                  <a:pt x="903" y="289"/>
                </a:cubicBezTo>
                <a:cubicBezTo>
                  <a:pt x="951" y="246"/>
                  <a:pt x="955" y="171"/>
                  <a:pt x="912" y="123"/>
                </a:cubicBezTo>
                <a:close/>
                <a:moveTo>
                  <a:pt x="775" y="451"/>
                </a:moveTo>
                <a:cubicBezTo>
                  <a:pt x="897" y="451"/>
                  <a:pt x="897" y="451"/>
                  <a:pt x="897" y="451"/>
                </a:cubicBezTo>
                <a:cubicBezTo>
                  <a:pt x="897" y="1238"/>
                  <a:pt x="897" y="1238"/>
                  <a:pt x="897" y="1238"/>
                </a:cubicBezTo>
                <a:cubicBezTo>
                  <a:pt x="0" y="1238"/>
                  <a:pt x="0" y="1238"/>
                  <a:pt x="0" y="1238"/>
                </a:cubicBezTo>
                <a:cubicBezTo>
                  <a:pt x="0" y="451"/>
                  <a:pt x="0" y="451"/>
                  <a:pt x="0" y="451"/>
                </a:cubicBezTo>
                <a:cubicBezTo>
                  <a:pt x="122" y="451"/>
                  <a:pt x="122" y="451"/>
                  <a:pt x="122" y="451"/>
                </a:cubicBezTo>
                <a:cubicBezTo>
                  <a:pt x="122" y="441"/>
                  <a:pt x="122" y="441"/>
                  <a:pt x="122" y="441"/>
                </a:cubicBezTo>
                <a:cubicBezTo>
                  <a:pt x="122" y="425"/>
                  <a:pt x="135" y="412"/>
                  <a:pt x="150" y="412"/>
                </a:cubicBezTo>
                <a:cubicBezTo>
                  <a:pt x="166" y="412"/>
                  <a:pt x="179" y="425"/>
                  <a:pt x="179" y="441"/>
                </a:cubicBezTo>
                <a:cubicBezTo>
                  <a:pt x="179" y="451"/>
                  <a:pt x="179" y="451"/>
                  <a:pt x="179" y="451"/>
                </a:cubicBezTo>
                <a:cubicBezTo>
                  <a:pt x="207" y="451"/>
                  <a:pt x="207" y="451"/>
                  <a:pt x="207" y="451"/>
                </a:cubicBezTo>
                <a:cubicBezTo>
                  <a:pt x="207" y="441"/>
                  <a:pt x="207" y="441"/>
                  <a:pt x="207" y="441"/>
                </a:cubicBezTo>
                <a:cubicBezTo>
                  <a:pt x="207" y="425"/>
                  <a:pt x="220" y="412"/>
                  <a:pt x="235" y="412"/>
                </a:cubicBezTo>
                <a:cubicBezTo>
                  <a:pt x="251" y="412"/>
                  <a:pt x="264" y="425"/>
                  <a:pt x="264" y="441"/>
                </a:cubicBezTo>
                <a:cubicBezTo>
                  <a:pt x="264" y="451"/>
                  <a:pt x="264" y="451"/>
                  <a:pt x="264" y="451"/>
                </a:cubicBezTo>
                <a:cubicBezTo>
                  <a:pt x="292" y="451"/>
                  <a:pt x="292" y="451"/>
                  <a:pt x="292" y="451"/>
                </a:cubicBezTo>
                <a:cubicBezTo>
                  <a:pt x="292" y="441"/>
                  <a:pt x="292" y="441"/>
                  <a:pt x="292" y="441"/>
                </a:cubicBezTo>
                <a:cubicBezTo>
                  <a:pt x="292" y="425"/>
                  <a:pt x="305" y="412"/>
                  <a:pt x="321" y="412"/>
                </a:cubicBezTo>
                <a:cubicBezTo>
                  <a:pt x="336" y="412"/>
                  <a:pt x="349" y="425"/>
                  <a:pt x="349" y="441"/>
                </a:cubicBezTo>
                <a:cubicBezTo>
                  <a:pt x="349" y="451"/>
                  <a:pt x="349" y="451"/>
                  <a:pt x="349" y="451"/>
                </a:cubicBezTo>
                <a:cubicBezTo>
                  <a:pt x="378" y="451"/>
                  <a:pt x="378" y="451"/>
                  <a:pt x="378" y="451"/>
                </a:cubicBezTo>
                <a:cubicBezTo>
                  <a:pt x="378" y="441"/>
                  <a:pt x="378" y="441"/>
                  <a:pt x="378" y="441"/>
                </a:cubicBezTo>
                <a:cubicBezTo>
                  <a:pt x="378" y="425"/>
                  <a:pt x="390" y="412"/>
                  <a:pt x="406" y="412"/>
                </a:cubicBezTo>
                <a:cubicBezTo>
                  <a:pt x="421" y="412"/>
                  <a:pt x="434" y="425"/>
                  <a:pt x="434" y="441"/>
                </a:cubicBezTo>
                <a:cubicBezTo>
                  <a:pt x="434" y="451"/>
                  <a:pt x="434" y="451"/>
                  <a:pt x="434" y="451"/>
                </a:cubicBezTo>
                <a:cubicBezTo>
                  <a:pt x="463" y="451"/>
                  <a:pt x="463" y="451"/>
                  <a:pt x="463" y="451"/>
                </a:cubicBezTo>
                <a:cubicBezTo>
                  <a:pt x="463" y="441"/>
                  <a:pt x="463" y="441"/>
                  <a:pt x="463" y="441"/>
                </a:cubicBezTo>
                <a:cubicBezTo>
                  <a:pt x="463" y="425"/>
                  <a:pt x="475" y="412"/>
                  <a:pt x="491" y="412"/>
                </a:cubicBezTo>
                <a:cubicBezTo>
                  <a:pt x="507" y="412"/>
                  <a:pt x="519" y="425"/>
                  <a:pt x="519" y="441"/>
                </a:cubicBezTo>
                <a:cubicBezTo>
                  <a:pt x="519" y="451"/>
                  <a:pt x="519" y="451"/>
                  <a:pt x="519" y="451"/>
                </a:cubicBezTo>
                <a:cubicBezTo>
                  <a:pt x="548" y="451"/>
                  <a:pt x="548" y="451"/>
                  <a:pt x="548" y="451"/>
                </a:cubicBezTo>
                <a:cubicBezTo>
                  <a:pt x="548" y="441"/>
                  <a:pt x="548" y="441"/>
                  <a:pt x="548" y="441"/>
                </a:cubicBezTo>
                <a:cubicBezTo>
                  <a:pt x="548" y="425"/>
                  <a:pt x="561" y="412"/>
                  <a:pt x="576" y="412"/>
                </a:cubicBezTo>
                <a:cubicBezTo>
                  <a:pt x="592" y="412"/>
                  <a:pt x="604" y="425"/>
                  <a:pt x="604" y="441"/>
                </a:cubicBezTo>
                <a:cubicBezTo>
                  <a:pt x="604" y="451"/>
                  <a:pt x="604" y="451"/>
                  <a:pt x="604" y="451"/>
                </a:cubicBezTo>
                <a:cubicBezTo>
                  <a:pt x="633" y="451"/>
                  <a:pt x="633" y="451"/>
                  <a:pt x="633" y="451"/>
                </a:cubicBezTo>
                <a:cubicBezTo>
                  <a:pt x="633" y="441"/>
                  <a:pt x="633" y="441"/>
                  <a:pt x="633" y="441"/>
                </a:cubicBezTo>
                <a:cubicBezTo>
                  <a:pt x="633" y="425"/>
                  <a:pt x="646" y="412"/>
                  <a:pt x="661" y="412"/>
                </a:cubicBezTo>
                <a:cubicBezTo>
                  <a:pt x="677" y="412"/>
                  <a:pt x="690" y="425"/>
                  <a:pt x="690" y="441"/>
                </a:cubicBezTo>
                <a:cubicBezTo>
                  <a:pt x="690" y="451"/>
                  <a:pt x="690" y="451"/>
                  <a:pt x="690" y="451"/>
                </a:cubicBezTo>
                <a:cubicBezTo>
                  <a:pt x="718" y="451"/>
                  <a:pt x="718" y="451"/>
                  <a:pt x="718" y="451"/>
                </a:cubicBezTo>
                <a:cubicBezTo>
                  <a:pt x="718" y="441"/>
                  <a:pt x="718" y="441"/>
                  <a:pt x="718" y="441"/>
                </a:cubicBezTo>
                <a:cubicBezTo>
                  <a:pt x="718" y="425"/>
                  <a:pt x="731" y="412"/>
                  <a:pt x="747" y="412"/>
                </a:cubicBezTo>
                <a:cubicBezTo>
                  <a:pt x="762" y="412"/>
                  <a:pt x="775" y="425"/>
                  <a:pt x="775" y="441"/>
                </a:cubicBezTo>
                <a:lnTo>
                  <a:pt x="775" y="451"/>
                </a:lnTo>
                <a:close/>
                <a:moveTo>
                  <a:pt x="682" y="949"/>
                </a:moveTo>
                <a:cubicBezTo>
                  <a:pt x="540" y="949"/>
                  <a:pt x="540" y="949"/>
                  <a:pt x="540" y="949"/>
                </a:cubicBezTo>
                <a:cubicBezTo>
                  <a:pt x="540" y="1069"/>
                  <a:pt x="540" y="1069"/>
                  <a:pt x="540" y="1069"/>
                </a:cubicBezTo>
                <a:cubicBezTo>
                  <a:pt x="682" y="1069"/>
                  <a:pt x="682" y="1069"/>
                  <a:pt x="682" y="1069"/>
                </a:cubicBezTo>
                <a:lnTo>
                  <a:pt x="682" y="949"/>
                </a:lnTo>
                <a:close/>
                <a:moveTo>
                  <a:pt x="703" y="1069"/>
                </a:moveTo>
                <a:cubicBezTo>
                  <a:pt x="845" y="1069"/>
                  <a:pt x="845" y="1069"/>
                  <a:pt x="845" y="1069"/>
                </a:cubicBezTo>
                <a:cubicBezTo>
                  <a:pt x="845" y="949"/>
                  <a:pt x="845" y="949"/>
                  <a:pt x="845" y="949"/>
                </a:cubicBezTo>
                <a:cubicBezTo>
                  <a:pt x="703" y="949"/>
                  <a:pt x="703" y="949"/>
                  <a:pt x="703" y="949"/>
                </a:cubicBezTo>
                <a:lnTo>
                  <a:pt x="703" y="1069"/>
                </a:lnTo>
                <a:close/>
                <a:moveTo>
                  <a:pt x="377" y="1196"/>
                </a:moveTo>
                <a:cubicBezTo>
                  <a:pt x="519" y="1196"/>
                  <a:pt x="519" y="1196"/>
                  <a:pt x="519" y="1196"/>
                </a:cubicBezTo>
                <a:cubicBezTo>
                  <a:pt x="519" y="1090"/>
                  <a:pt x="519" y="1090"/>
                  <a:pt x="519" y="1090"/>
                </a:cubicBezTo>
                <a:cubicBezTo>
                  <a:pt x="377" y="1090"/>
                  <a:pt x="377" y="1090"/>
                  <a:pt x="377" y="1090"/>
                </a:cubicBezTo>
                <a:lnTo>
                  <a:pt x="377" y="1196"/>
                </a:lnTo>
                <a:close/>
                <a:moveTo>
                  <a:pt x="357" y="1090"/>
                </a:moveTo>
                <a:cubicBezTo>
                  <a:pt x="215" y="1090"/>
                  <a:pt x="215" y="1090"/>
                  <a:pt x="215" y="1090"/>
                </a:cubicBezTo>
                <a:cubicBezTo>
                  <a:pt x="215" y="1196"/>
                  <a:pt x="215" y="1196"/>
                  <a:pt x="215" y="1196"/>
                </a:cubicBezTo>
                <a:cubicBezTo>
                  <a:pt x="357" y="1196"/>
                  <a:pt x="357" y="1196"/>
                  <a:pt x="357" y="1196"/>
                </a:cubicBezTo>
                <a:lnTo>
                  <a:pt x="357" y="1090"/>
                </a:lnTo>
                <a:close/>
                <a:moveTo>
                  <a:pt x="540" y="1196"/>
                </a:moveTo>
                <a:cubicBezTo>
                  <a:pt x="682" y="1196"/>
                  <a:pt x="682" y="1196"/>
                  <a:pt x="682" y="1196"/>
                </a:cubicBezTo>
                <a:cubicBezTo>
                  <a:pt x="682" y="1090"/>
                  <a:pt x="682" y="1090"/>
                  <a:pt x="682" y="1090"/>
                </a:cubicBezTo>
                <a:cubicBezTo>
                  <a:pt x="540" y="1090"/>
                  <a:pt x="540" y="1090"/>
                  <a:pt x="540" y="1090"/>
                </a:cubicBezTo>
                <a:lnTo>
                  <a:pt x="540" y="1196"/>
                </a:lnTo>
                <a:close/>
                <a:moveTo>
                  <a:pt x="519" y="949"/>
                </a:moveTo>
                <a:cubicBezTo>
                  <a:pt x="377" y="949"/>
                  <a:pt x="377" y="949"/>
                  <a:pt x="377" y="949"/>
                </a:cubicBezTo>
                <a:cubicBezTo>
                  <a:pt x="377" y="1069"/>
                  <a:pt x="377" y="1069"/>
                  <a:pt x="377" y="1069"/>
                </a:cubicBezTo>
                <a:cubicBezTo>
                  <a:pt x="519" y="1069"/>
                  <a:pt x="519" y="1069"/>
                  <a:pt x="519" y="1069"/>
                </a:cubicBezTo>
                <a:lnTo>
                  <a:pt x="519" y="949"/>
                </a:lnTo>
                <a:close/>
                <a:moveTo>
                  <a:pt x="357" y="949"/>
                </a:moveTo>
                <a:cubicBezTo>
                  <a:pt x="215" y="949"/>
                  <a:pt x="215" y="949"/>
                  <a:pt x="215" y="949"/>
                </a:cubicBezTo>
                <a:cubicBezTo>
                  <a:pt x="215" y="1069"/>
                  <a:pt x="215" y="1069"/>
                  <a:pt x="215" y="1069"/>
                </a:cubicBezTo>
                <a:cubicBezTo>
                  <a:pt x="357" y="1069"/>
                  <a:pt x="357" y="1069"/>
                  <a:pt x="357" y="1069"/>
                </a:cubicBezTo>
                <a:lnTo>
                  <a:pt x="357" y="949"/>
                </a:lnTo>
                <a:close/>
                <a:moveTo>
                  <a:pt x="194" y="949"/>
                </a:moveTo>
                <a:cubicBezTo>
                  <a:pt x="52" y="949"/>
                  <a:pt x="52" y="949"/>
                  <a:pt x="52" y="949"/>
                </a:cubicBezTo>
                <a:cubicBezTo>
                  <a:pt x="52" y="1069"/>
                  <a:pt x="52" y="1069"/>
                  <a:pt x="52" y="1069"/>
                </a:cubicBezTo>
                <a:cubicBezTo>
                  <a:pt x="194" y="1069"/>
                  <a:pt x="194" y="1069"/>
                  <a:pt x="194" y="1069"/>
                </a:cubicBezTo>
                <a:lnTo>
                  <a:pt x="194" y="949"/>
                </a:lnTo>
                <a:close/>
                <a:moveTo>
                  <a:pt x="52" y="1090"/>
                </a:moveTo>
                <a:cubicBezTo>
                  <a:pt x="52" y="1196"/>
                  <a:pt x="52" y="1196"/>
                  <a:pt x="52" y="1196"/>
                </a:cubicBezTo>
                <a:cubicBezTo>
                  <a:pt x="194" y="1196"/>
                  <a:pt x="194" y="1196"/>
                  <a:pt x="194" y="1196"/>
                </a:cubicBezTo>
                <a:cubicBezTo>
                  <a:pt x="194" y="1090"/>
                  <a:pt x="194" y="1090"/>
                  <a:pt x="194" y="1090"/>
                </a:cubicBezTo>
                <a:lnTo>
                  <a:pt x="52" y="1090"/>
                </a:lnTo>
                <a:close/>
                <a:moveTo>
                  <a:pt x="845" y="1196"/>
                </a:moveTo>
                <a:cubicBezTo>
                  <a:pt x="845" y="1090"/>
                  <a:pt x="845" y="1090"/>
                  <a:pt x="845" y="1090"/>
                </a:cubicBezTo>
                <a:cubicBezTo>
                  <a:pt x="703" y="1090"/>
                  <a:pt x="703" y="1090"/>
                  <a:pt x="703" y="1090"/>
                </a:cubicBezTo>
                <a:cubicBezTo>
                  <a:pt x="703" y="1196"/>
                  <a:pt x="703" y="1196"/>
                  <a:pt x="703" y="1196"/>
                </a:cubicBezTo>
                <a:lnTo>
                  <a:pt x="845" y="1196"/>
                </a:lnTo>
                <a:close/>
                <a:moveTo>
                  <a:pt x="845" y="808"/>
                </a:moveTo>
                <a:cubicBezTo>
                  <a:pt x="703" y="808"/>
                  <a:pt x="703" y="808"/>
                  <a:pt x="703" y="808"/>
                </a:cubicBezTo>
                <a:cubicBezTo>
                  <a:pt x="703" y="928"/>
                  <a:pt x="703" y="928"/>
                  <a:pt x="703" y="928"/>
                </a:cubicBezTo>
                <a:cubicBezTo>
                  <a:pt x="845" y="928"/>
                  <a:pt x="845" y="928"/>
                  <a:pt x="845" y="928"/>
                </a:cubicBezTo>
                <a:lnTo>
                  <a:pt x="845" y="808"/>
                </a:lnTo>
                <a:close/>
                <a:moveTo>
                  <a:pt x="682" y="808"/>
                </a:moveTo>
                <a:cubicBezTo>
                  <a:pt x="540" y="808"/>
                  <a:pt x="540" y="808"/>
                  <a:pt x="540" y="808"/>
                </a:cubicBezTo>
                <a:cubicBezTo>
                  <a:pt x="540" y="928"/>
                  <a:pt x="540" y="928"/>
                  <a:pt x="540" y="928"/>
                </a:cubicBezTo>
                <a:cubicBezTo>
                  <a:pt x="682" y="928"/>
                  <a:pt x="682" y="928"/>
                  <a:pt x="682" y="928"/>
                </a:cubicBezTo>
                <a:lnTo>
                  <a:pt x="682" y="808"/>
                </a:lnTo>
                <a:close/>
                <a:moveTo>
                  <a:pt x="519" y="808"/>
                </a:moveTo>
                <a:cubicBezTo>
                  <a:pt x="377" y="808"/>
                  <a:pt x="377" y="808"/>
                  <a:pt x="377" y="808"/>
                </a:cubicBezTo>
                <a:cubicBezTo>
                  <a:pt x="377" y="928"/>
                  <a:pt x="377" y="928"/>
                  <a:pt x="377" y="928"/>
                </a:cubicBezTo>
                <a:cubicBezTo>
                  <a:pt x="519" y="928"/>
                  <a:pt x="519" y="928"/>
                  <a:pt x="519" y="928"/>
                </a:cubicBezTo>
                <a:lnTo>
                  <a:pt x="519" y="808"/>
                </a:lnTo>
                <a:close/>
                <a:moveTo>
                  <a:pt x="357" y="808"/>
                </a:moveTo>
                <a:cubicBezTo>
                  <a:pt x="215" y="808"/>
                  <a:pt x="215" y="808"/>
                  <a:pt x="215" y="808"/>
                </a:cubicBezTo>
                <a:cubicBezTo>
                  <a:pt x="215" y="928"/>
                  <a:pt x="215" y="928"/>
                  <a:pt x="215" y="928"/>
                </a:cubicBezTo>
                <a:cubicBezTo>
                  <a:pt x="357" y="928"/>
                  <a:pt x="357" y="928"/>
                  <a:pt x="357" y="928"/>
                </a:cubicBezTo>
                <a:lnTo>
                  <a:pt x="357" y="808"/>
                </a:lnTo>
                <a:close/>
                <a:moveTo>
                  <a:pt x="194" y="808"/>
                </a:moveTo>
                <a:cubicBezTo>
                  <a:pt x="52" y="808"/>
                  <a:pt x="52" y="808"/>
                  <a:pt x="52" y="808"/>
                </a:cubicBezTo>
                <a:cubicBezTo>
                  <a:pt x="52" y="928"/>
                  <a:pt x="52" y="928"/>
                  <a:pt x="52" y="928"/>
                </a:cubicBezTo>
                <a:cubicBezTo>
                  <a:pt x="194" y="928"/>
                  <a:pt x="194" y="928"/>
                  <a:pt x="194" y="928"/>
                </a:cubicBezTo>
                <a:lnTo>
                  <a:pt x="194" y="808"/>
                </a:lnTo>
                <a:close/>
                <a:moveTo>
                  <a:pt x="845" y="668"/>
                </a:moveTo>
                <a:cubicBezTo>
                  <a:pt x="703" y="668"/>
                  <a:pt x="703" y="668"/>
                  <a:pt x="703" y="668"/>
                </a:cubicBezTo>
                <a:cubicBezTo>
                  <a:pt x="703" y="787"/>
                  <a:pt x="703" y="787"/>
                  <a:pt x="703" y="787"/>
                </a:cubicBezTo>
                <a:cubicBezTo>
                  <a:pt x="845" y="787"/>
                  <a:pt x="845" y="787"/>
                  <a:pt x="845" y="787"/>
                </a:cubicBezTo>
                <a:lnTo>
                  <a:pt x="845" y="668"/>
                </a:lnTo>
                <a:close/>
                <a:moveTo>
                  <a:pt x="682" y="668"/>
                </a:moveTo>
                <a:cubicBezTo>
                  <a:pt x="540" y="668"/>
                  <a:pt x="540" y="668"/>
                  <a:pt x="540" y="668"/>
                </a:cubicBezTo>
                <a:cubicBezTo>
                  <a:pt x="540" y="787"/>
                  <a:pt x="540" y="787"/>
                  <a:pt x="540" y="787"/>
                </a:cubicBezTo>
                <a:cubicBezTo>
                  <a:pt x="682" y="787"/>
                  <a:pt x="682" y="787"/>
                  <a:pt x="682" y="787"/>
                </a:cubicBezTo>
                <a:lnTo>
                  <a:pt x="682" y="668"/>
                </a:lnTo>
                <a:close/>
                <a:moveTo>
                  <a:pt x="519" y="668"/>
                </a:moveTo>
                <a:cubicBezTo>
                  <a:pt x="377" y="668"/>
                  <a:pt x="377" y="668"/>
                  <a:pt x="377" y="668"/>
                </a:cubicBezTo>
                <a:cubicBezTo>
                  <a:pt x="377" y="787"/>
                  <a:pt x="377" y="787"/>
                  <a:pt x="377" y="787"/>
                </a:cubicBezTo>
                <a:cubicBezTo>
                  <a:pt x="519" y="787"/>
                  <a:pt x="519" y="787"/>
                  <a:pt x="519" y="787"/>
                </a:cubicBezTo>
                <a:lnTo>
                  <a:pt x="519" y="668"/>
                </a:lnTo>
                <a:close/>
                <a:moveTo>
                  <a:pt x="357" y="668"/>
                </a:moveTo>
                <a:cubicBezTo>
                  <a:pt x="215" y="668"/>
                  <a:pt x="215" y="668"/>
                  <a:pt x="215" y="668"/>
                </a:cubicBezTo>
                <a:cubicBezTo>
                  <a:pt x="215" y="787"/>
                  <a:pt x="215" y="787"/>
                  <a:pt x="215" y="787"/>
                </a:cubicBezTo>
                <a:cubicBezTo>
                  <a:pt x="357" y="787"/>
                  <a:pt x="357" y="787"/>
                  <a:pt x="357" y="787"/>
                </a:cubicBezTo>
                <a:lnTo>
                  <a:pt x="357" y="668"/>
                </a:lnTo>
                <a:close/>
                <a:moveTo>
                  <a:pt x="194" y="668"/>
                </a:moveTo>
                <a:cubicBezTo>
                  <a:pt x="52" y="668"/>
                  <a:pt x="52" y="668"/>
                  <a:pt x="52" y="668"/>
                </a:cubicBezTo>
                <a:cubicBezTo>
                  <a:pt x="52" y="787"/>
                  <a:pt x="52" y="787"/>
                  <a:pt x="52" y="787"/>
                </a:cubicBezTo>
                <a:cubicBezTo>
                  <a:pt x="194" y="787"/>
                  <a:pt x="194" y="787"/>
                  <a:pt x="194" y="787"/>
                </a:cubicBezTo>
                <a:lnTo>
                  <a:pt x="194" y="668"/>
                </a:lnTo>
                <a:close/>
                <a:moveTo>
                  <a:pt x="775" y="493"/>
                </a:moveTo>
                <a:cubicBezTo>
                  <a:pt x="775" y="511"/>
                  <a:pt x="775" y="511"/>
                  <a:pt x="775" y="511"/>
                </a:cubicBezTo>
                <a:cubicBezTo>
                  <a:pt x="775" y="527"/>
                  <a:pt x="762" y="540"/>
                  <a:pt x="747" y="540"/>
                </a:cubicBezTo>
                <a:cubicBezTo>
                  <a:pt x="731" y="540"/>
                  <a:pt x="718" y="527"/>
                  <a:pt x="718" y="511"/>
                </a:cubicBezTo>
                <a:cubicBezTo>
                  <a:pt x="718" y="493"/>
                  <a:pt x="718" y="493"/>
                  <a:pt x="718" y="493"/>
                </a:cubicBezTo>
                <a:cubicBezTo>
                  <a:pt x="690" y="493"/>
                  <a:pt x="690" y="493"/>
                  <a:pt x="690" y="493"/>
                </a:cubicBezTo>
                <a:cubicBezTo>
                  <a:pt x="690" y="511"/>
                  <a:pt x="690" y="511"/>
                  <a:pt x="690" y="511"/>
                </a:cubicBezTo>
                <a:cubicBezTo>
                  <a:pt x="690" y="527"/>
                  <a:pt x="677" y="540"/>
                  <a:pt x="661" y="540"/>
                </a:cubicBezTo>
                <a:cubicBezTo>
                  <a:pt x="646" y="540"/>
                  <a:pt x="633" y="527"/>
                  <a:pt x="633" y="511"/>
                </a:cubicBezTo>
                <a:cubicBezTo>
                  <a:pt x="633" y="493"/>
                  <a:pt x="633" y="493"/>
                  <a:pt x="633" y="493"/>
                </a:cubicBezTo>
                <a:cubicBezTo>
                  <a:pt x="604" y="493"/>
                  <a:pt x="604" y="493"/>
                  <a:pt x="604" y="493"/>
                </a:cubicBezTo>
                <a:cubicBezTo>
                  <a:pt x="604" y="511"/>
                  <a:pt x="604" y="511"/>
                  <a:pt x="604" y="511"/>
                </a:cubicBezTo>
                <a:cubicBezTo>
                  <a:pt x="604" y="527"/>
                  <a:pt x="592" y="540"/>
                  <a:pt x="576" y="540"/>
                </a:cubicBezTo>
                <a:cubicBezTo>
                  <a:pt x="561" y="540"/>
                  <a:pt x="548" y="527"/>
                  <a:pt x="548" y="511"/>
                </a:cubicBezTo>
                <a:cubicBezTo>
                  <a:pt x="548" y="493"/>
                  <a:pt x="548" y="493"/>
                  <a:pt x="548" y="493"/>
                </a:cubicBezTo>
                <a:cubicBezTo>
                  <a:pt x="519" y="493"/>
                  <a:pt x="519" y="493"/>
                  <a:pt x="519" y="493"/>
                </a:cubicBezTo>
                <a:cubicBezTo>
                  <a:pt x="519" y="511"/>
                  <a:pt x="519" y="511"/>
                  <a:pt x="519" y="511"/>
                </a:cubicBezTo>
                <a:cubicBezTo>
                  <a:pt x="519" y="527"/>
                  <a:pt x="507" y="540"/>
                  <a:pt x="491" y="540"/>
                </a:cubicBezTo>
                <a:cubicBezTo>
                  <a:pt x="475" y="540"/>
                  <a:pt x="463" y="527"/>
                  <a:pt x="463" y="511"/>
                </a:cubicBezTo>
                <a:cubicBezTo>
                  <a:pt x="463" y="493"/>
                  <a:pt x="463" y="493"/>
                  <a:pt x="463" y="493"/>
                </a:cubicBezTo>
                <a:cubicBezTo>
                  <a:pt x="434" y="493"/>
                  <a:pt x="434" y="493"/>
                  <a:pt x="434" y="493"/>
                </a:cubicBezTo>
                <a:cubicBezTo>
                  <a:pt x="434" y="511"/>
                  <a:pt x="434" y="511"/>
                  <a:pt x="434" y="511"/>
                </a:cubicBezTo>
                <a:cubicBezTo>
                  <a:pt x="434" y="527"/>
                  <a:pt x="421" y="540"/>
                  <a:pt x="406" y="540"/>
                </a:cubicBezTo>
                <a:cubicBezTo>
                  <a:pt x="390" y="540"/>
                  <a:pt x="378" y="527"/>
                  <a:pt x="378" y="511"/>
                </a:cubicBezTo>
                <a:cubicBezTo>
                  <a:pt x="378" y="493"/>
                  <a:pt x="378" y="493"/>
                  <a:pt x="378" y="493"/>
                </a:cubicBezTo>
                <a:cubicBezTo>
                  <a:pt x="349" y="493"/>
                  <a:pt x="349" y="493"/>
                  <a:pt x="349" y="493"/>
                </a:cubicBezTo>
                <a:cubicBezTo>
                  <a:pt x="349" y="511"/>
                  <a:pt x="349" y="511"/>
                  <a:pt x="349" y="511"/>
                </a:cubicBezTo>
                <a:cubicBezTo>
                  <a:pt x="349" y="527"/>
                  <a:pt x="336" y="540"/>
                  <a:pt x="321" y="540"/>
                </a:cubicBezTo>
                <a:cubicBezTo>
                  <a:pt x="305" y="540"/>
                  <a:pt x="292" y="527"/>
                  <a:pt x="292" y="511"/>
                </a:cubicBezTo>
                <a:cubicBezTo>
                  <a:pt x="292" y="493"/>
                  <a:pt x="292" y="493"/>
                  <a:pt x="292" y="493"/>
                </a:cubicBezTo>
                <a:cubicBezTo>
                  <a:pt x="264" y="493"/>
                  <a:pt x="264" y="493"/>
                  <a:pt x="264" y="493"/>
                </a:cubicBezTo>
                <a:cubicBezTo>
                  <a:pt x="264" y="511"/>
                  <a:pt x="264" y="511"/>
                  <a:pt x="264" y="511"/>
                </a:cubicBezTo>
                <a:cubicBezTo>
                  <a:pt x="264" y="527"/>
                  <a:pt x="251" y="540"/>
                  <a:pt x="235" y="540"/>
                </a:cubicBezTo>
                <a:cubicBezTo>
                  <a:pt x="220" y="540"/>
                  <a:pt x="207" y="527"/>
                  <a:pt x="207" y="511"/>
                </a:cubicBezTo>
                <a:cubicBezTo>
                  <a:pt x="207" y="493"/>
                  <a:pt x="207" y="493"/>
                  <a:pt x="207" y="493"/>
                </a:cubicBezTo>
                <a:cubicBezTo>
                  <a:pt x="179" y="493"/>
                  <a:pt x="179" y="493"/>
                  <a:pt x="179" y="493"/>
                </a:cubicBezTo>
                <a:cubicBezTo>
                  <a:pt x="179" y="511"/>
                  <a:pt x="179" y="511"/>
                  <a:pt x="179" y="511"/>
                </a:cubicBezTo>
                <a:cubicBezTo>
                  <a:pt x="179" y="527"/>
                  <a:pt x="166" y="540"/>
                  <a:pt x="150" y="540"/>
                </a:cubicBezTo>
                <a:cubicBezTo>
                  <a:pt x="135" y="540"/>
                  <a:pt x="122" y="527"/>
                  <a:pt x="122" y="511"/>
                </a:cubicBezTo>
                <a:cubicBezTo>
                  <a:pt x="122" y="493"/>
                  <a:pt x="122" y="493"/>
                  <a:pt x="122" y="493"/>
                </a:cubicBezTo>
                <a:cubicBezTo>
                  <a:pt x="42" y="493"/>
                  <a:pt x="42" y="493"/>
                  <a:pt x="42" y="493"/>
                </a:cubicBezTo>
                <a:cubicBezTo>
                  <a:pt x="42" y="647"/>
                  <a:pt x="42" y="647"/>
                  <a:pt x="42" y="647"/>
                </a:cubicBezTo>
                <a:cubicBezTo>
                  <a:pt x="855" y="647"/>
                  <a:pt x="855" y="647"/>
                  <a:pt x="855" y="647"/>
                </a:cubicBezTo>
                <a:cubicBezTo>
                  <a:pt x="855" y="493"/>
                  <a:pt x="855" y="493"/>
                  <a:pt x="855" y="493"/>
                </a:cubicBezTo>
                <a:lnTo>
                  <a:pt x="775" y="493"/>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190577860"/>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3385" y="2136047"/>
            <a:ext cx="3499128"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716053826"/>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1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13355543"/>
      </p:ext>
    </p:extLst>
  </p:cSld>
  <p:clrMap bg1="lt1" tx1="dk1" bg2="lt2" tx2="dk2" accent1="accent1" accent2="accent2" accent3="accent3" accent4="accent4" accent5="accent5" accent6="accent6" hlink="hlink" folHlink="folHlink"/>
  <p:sldLayoutIdLst>
    <p:sldLayoutId id="2147483761" r:id="rId1"/>
    <p:sldLayoutId id="2147483762" r:id="rId2"/>
    <p:sldLayoutId id="2147483763" r:id="rId3"/>
    <p:sldLayoutId id="2147483764" r:id="rId4"/>
    <p:sldLayoutId id="2147483765" r:id="rId5"/>
    <p:sldLayoutId id="2147483766" r:id="rId6"/>
    <p:sldLayoutId id="2147483767" r:id="rId7"/>
    <p:sldLayoutId id="2147483768" r:id="rId8"/>
    <p:sldLayoutId id="2147483769" r:id="rId9"/>
    <p:sldLayoutId id="2147483770" r:id="rId10"/>
    <p:sldLayoutId id="2147483771" r:id="rId11"/>
    <p:sldLayoutId id="2147483772" r:id="rId12"/>
    <p:sldLayoutId id="2147483773" r:id="rId13"/>
    <p:sldLayoutId id="2147483774" r:id="rId14"/>
    <p:sldLayoutId id="2147483775" r:id="rId15"/>
    <p:sldLayoutId id="2147483776" r:id="rId16"/>
    <p:sldLayoutId id="2147483777" r:id="rId17"/>
    <p:sldLayoutId id="2147483778" r:id="rId18"/>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308344"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5" name="Rectangle 4"/>
          <p:cNvSpPr/>
          <p:nvPr/>
        </p:nvSpPr>
        <p:spPr bwMode="auto">
          <a:xfrm>
            <a:off x="0" y="0"/>
            <a:ext cx="12188825" cy="1447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519111" y="228601"/>
            <a:ext cx="11149014" cy="6647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113" y="1905000"/>
            <a:ext cx="11149012" cy="1618905"/>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905640138"/>
      </p:ext>
    </p:extLst>
  </p:cSld>
  <p:clrMap bg1="lt1" tx1="dk1" bg2="lt2" tx2="dk2" accent1="accent1" accent2="accent2" accent3="accent3" accent4="accent4" accent5="accent5" accent6="accent6" hlink="hlink" folHlink="folHlink"/>
  <p:sldLayoutIdLst>
    <p:sldLayoutId id="2147483780" r:id="rId1"/>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4800" b="0" kern="1200" cap="none" spc="-100" baseline="0" dirty="0">
          <a:ln w="3175">
            <a:noFill/>
          </a:ln>
          <a:solidFill>
            <a:schemeClr val="bg1">
              <a:alpha val="99000"/>
            </a:schemeClr>
          </a:solidFill>
          <a:effectLst/>
          <a:latin typeface="Segoe UI Light" pitchFamily="34" charset="0"/>
          <a:ea typeface="+mn-ea"/>
          <a:cs typeface="Arial" charset="0"/>
        </a:defRPr>
      </a:lvl1pPr>
    </p:titleStyle>
    <p:bodyStyle>
      <a:lvl1pPr marL="0" indent="0" algn="l" defTabSz="914363" rtl="0" eaLnBrk="1" latinLnBrk="0" hangingPunct="1">
        <a:lnSpc>
          <a:spcPct val="90000"/>
        </a:lnSpc>
        <a:spcBef>
          <a:spcPct val="20000"/>
        </a:spcBef>
        <a:buFont typeface="Arial" pitchFamily="34" charset="0"/>
        <a:buNone/>
        <a:defRPr sz="2400" b="0" kern="1200">
          <a:gradFill>
            <a:gsLst>
              <a:gs pos="0">
                <a:srgbClr val="595959"/>
              </a:gs>
              <a:gs pos="86000">
                <a:srgbClr val="595959"/>
              </a:gs>
            </a:gsLst>
            <a:lin ang="5400000" scaled="0"/>
          </a:gradFill>
          <a:latin typeface="Consolas" pitchFamily="49" charset="0"/>
          <a:ea typeface="+mn-ea"/>
          <a:cs typeface="Consolas" pitchFamily="49" charset="0"/>
        </a:defRPr>
      </a:lvl1pPr>
      <a:lvl2pPr marL="384954" indent="-7937" algn="l" defTabSz="914363" rtl="0" eaLnBrk="1" latinLnBrk="0" hangingPunct="1">
        <a:lnSpc>
          <a:spcPct val="90000"/>
        </a:lnSpc>
        <a:spcBef>
          <a:spcPct val="20000"/>
        </a:spcBef>
        <a:buFont typeface="Arial" pitchFamily="34" charset="0"/>
        <a:buNone/>
        <a:defRPr sz="2000" b="0" kern="1200">
          <a:gradFill>
            <a:gsLst>
              <a:gs pos="0">
                <a:srgbClr val="595959"/>
              </a:gs>
              <a:gs pos="86000">
                <a:srgbClr val="595959"/>
              </a:gs>
            </a:gsLst>
            <a:lin ang="5400000" scaled="0"/>
          </a:gradFill>
          <a:latin typeface="Consolas" pitchFamily="49" charset="0"/>
          <a:ea typeface="+mn-ea"/>
          <a:cs typeface="Consolas" pitchFamily="49" charset="0"/>
        </a:defRPr>
      </a:lvl2pPr>
      <a:lvl3pPr marL="761970"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3pPr>
      <a:lvl4pPr marL="1094009"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4pPr>
      <a:lvl5pPr marL="1426047" indent="0"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6.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18.xml"/><Relationship Id="rId7" Type="http://schemas.openxmlformats.org/officeDocument/2006/relationships/oleObject" Target="../embeddings/oleObject8.bin"/><Relationship Id="rId2" Type="http://schemas.openxmlformats.org/officeDocument/2006/relationships/tags" Target="../tags/tag17.xml"/><Relationship Id="rId1" Type="http://schemas.openxmlformats.org/officeDocument/2006/relationships/vmlDrawing" Target="../drawings/vmlDrawing8.vml"/><Relationship Id="rId6" Type="http://schemas.openxmlformats.org/officeDocument/2006/relationships/notesSlide" Target="../notesSlides/notesSlide12.xml"/><Relationship Id="rId5" Type="http://schemas.openxmlformats.org/officeDocument/2006/relationships/slideLayout" Target="../slideLayouts/slideLayout3.xml"/><Relationship Id="rId4" Type="http://schemas.openxmlformats.org/officeDocument/2006/relationships/tags" Target="../tags/tag19.xml"/></Relationships>
</file>

<file path=ppt/slides/_rels/slide1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slideLayout" Target="../slideLayouts/slideLayout3.xml"/><Relationship Id="rId1" Type="http://schemas.openxmlformats.org/officeDocument/2006/relationships/tags" Target="../tags/tag20.xml"/><Relationship Id="rId4" Type="http://schemas.openxmlformats.org/officeDocument/2006/relationships/image" Target="../media/image15.png"/></Relationships>
</file>

<file path=ppt/slides/_rels/slide1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slideLayout" Target="../slideLayouts/slideLayout3.xml"/><Relationship Id="rId1" Type="http://schemas.openxmlformats.org/officeDocument/2006/relationships/tags" Target="../tags/tag21.xml"/><Relationship Id="rId4" Type="http://schemas.openxmlformats.org/officeDocument/2006/relationships/image" Target="../media/image17.png"/></Relationships>
</file>

<file path=ppt/slides/_rels/slide16.xml.rels><?xml version="1.0" encoding="UTF-8" standalone="yes"?>
<Relationships xmlns="http://schemas.openxmlformats.org/package/2006/relationships"><Relationship Id="rId3" Type="http://schemas.openxmlformats.org/officeDocument/2006/relationships/tags" Target="../tags/tag23.xml"/><Relationship Id="rId7" Type="http://schemas.openxmlformats.org/officeDocument/2006/relationships/image" Target="../media/image9.emf"/><Relationship Id="rId2" Type="http://schemas.openxmlformats.org/officeDocument/2006/relationships/tags" Target="../tags/tag22.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notesSlide" Target="../notesSlides/notesSlide13.xml"/><Relationship Id="rId4" Type="http://schemas.openxmlformats.org/officeDocument/2006/relationships/slideLayout" Target="../slideLayouts/slideLayout10.xml"/></Relationships>
</file>

<file path=ppt/slides/_rels/slide17.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25.xml"/><Relationship Id="rId7" Type="http://schemas.openxmlformats.org/officeDocument/2006/relationships/oleObject" Target="../embeddings/oleObject10.bin"/><Relationship Id="rId2" Type="http://schemas.openxmlformats.org/officeDocument/2006/relationships/tags" Target="../tags/tag24.xml"/><Relationship Id="rId1" Type="http://schemas.openxmlformats.org/officeDocument/2006/relationships/vmlDrawing" Target="../drawings/vmlDrawing10.vml"/><Relationship Id="rId6" Type="http://schemas.openxmlformats.org/officeDocument/2006/relationships/notesSlide" Target="../notesSlides/notesSlide14.xml"/><Relationship Id="rId5" Type="http://schemas.openxmlformats.org/officeDocument/2006/relationships/slideLayout" Target="../slideLayouts/slideLayout3.xml"/><Relationship Id="rId4" Type="http://schemas.openxmlformats.org/officeDocument/2006/relationships/tags" Target="../tags/tag26.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6.xml"/><Relationship Id="rId1" Type="http://schemas.openxmlformats.org/officeDocument/2006/relationships/slideLayout" Target="../slideLayouts/slideLayout2.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image" Target="../media/image19.png"/></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9.emf"/><Relationship Id="rId5" Type="http://schemas.openxmlformats.org/officeDocument/2006/relationships/oleObject" Target="../embeddings/oleObject1.bin"/><Relationship Id="rId4" Type="http://schemas.openxmlformats.org/officeDocument/2006/relationships/notesSlide" Target="../notesSlides/notesSlide1.xml"/></Relationships>
</file>

<file path=ppt/slides/_rels/slide20.xml.rels><?xml version="1.0" encoding="UTF-8" standalone="yes"?>
<Relationships xmlns="http://schemas.openxmlformats.org/package/2006/relationships"><Relationship Id="rId3" Type="http://schemas.openxmlformats.org/officeDocument/2006/relationships/tags" Target="../tags/tag28.xml"/><Relationship Id="rId7" Type="http://schemas.openxmlformats.org/officeDocument/2006/relationships/image" Target="../media/image9.emf"/><Relationship Id="rId2" Type="http://schemas.openxmlformats.org/officeDocument/2006/relationships/tags" Target="../tags/tag27.xml"/><Relationship Id="rId1" Type="http://schemas.openxmlformats.org/officeDocument/2006/relationships/vmlDrawing" Target="../drawings/vmlDrawing11.vml"/><Relationship Id="rId6" Type="http://schemas.openxmlformats.org/officeDocument/2006/relationships/oleObject" Target="../embeddings/oleObject11.bin"/><Relationship Id="rId5" Type="http://schemas.openxmlformats.org/officeDocument/2006/relationships/notesSlide" Target="../notesSlides/notesSlide17.xml"/><Relationship Id="rId4" Type="http://schemas.openxmlformats.org/officeDocument/2006/relationships/slideLayout" Target="../slideLayouts/slideLayout11.xml"/></Relationships>
</file>

<file path=ppt/slides/_rels/slide21.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30.xml"/><Relationship Id="rId7" Type="http://schemas.openxmlformats.org/officeDocument/2006/relationships/oleObject" Target="../embeddings/oleObject12.bin"/><Relationship Id="rId2" Type="http://schemas.openxmlformats.org/officeDocument/2006/relationships/tags" Target="../tags/tag29.xml"/><Relationship Id="rId1" Type="http://schemas.openxmlformats.org/officeDocument/2006/relationships/vmlDrawing" Target="../drawings/vmlDrawing12.vml"/><Relationship Id="rId6" Type="http://schemas.openxmlformats.org/officeDocument/2006/relationships/notesSlide" Target="../notesSlides/notesSlide18.xml"/><Relationship Id="rId5" Type="http://schemas.openxmlformats.org/officeDocument/2006/relationships/slideLayout" Target="../slideLayouts/slideLayout3.xml"/><Relationship Id="rId4" Type="http://schemas.openxmlformats.org/officeDocument/2006/relationships/tags" Target="../tags/tag31.xml"/></Relationships>
</file>

<file path=ppt/slides/_rels/slide22.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33.xml"/><Relationship Id="rId7" Type="http://schemas.openxmlformats.org/officeDocument/2006/relationships/oleObject" Target="../embeddings/oleObject13.bin"/><Relationship Id="rId2" Type="http://schemas.openxmlformats.org/officeDocument/2006/relationships/tags" Target="../tags/tag32.xml"/><Relationship Id="rId1" Type="http://schemas.openxmlformats.org/officeDocument/2006/relationships/vmlDrawing" Target="../drawings/vmlDrawing13.vml"/><Relationship Id="rId6" Type="http://schemas.openxmlformats.org/officeDocument/2006/relationships/notesSlide" Target="../notesSlides/notesSlide19.xml"/><Relationship Id="rId5" Type="http://schemas.openxmlformats.org/officeDocument/2006/relationships/slideLayout" Target="../slideLayouts/slideLayout3.xml"/><Relationship Id="rId4" Type="http://schemas.openxmlformats.org/officeDocument/2006/relationships/tags" Target="../tags/tag34.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Layout" Target="../slideLayouts/slideLayout5.xml"/><Relationship Id="rId5" Type="http://schemas.openxmlformats.org/officeDocument/2006/relationships/image" Target="../media/image25.png"/><Relationship Id="rId4" Type="http://schemas.openxmlformats.org/officeDocument/2006/relationships/image" Target="../media/image24.png"/></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35.xml"/><Relationship Id="rId1" Type="http://schemas.openxmlformats.org/officeDocument/2006/relationships/vmlDrawing" Target="../drawings/vmlDrawing14.vml"/><Relationship Id="rId6" Type="http://schemas.openxmlformats.org/officeDocument/2006/relationships/image" Target="../media/image9.emf"/><Relationship Id="rId5" Type="http://schemas.openxmlformats.org/officeDocument/2006/relationships/oleObject" Target="../embeddings/oleObject14.bin"/><Relationship Id="rId4" Type="http://schemas.openxmlformats.org/officeDocument/2006/relationships/notesSlide" Target="../notesSlides/notesSlide21.xml"/></Relationships>
</file>

<file path=ppt/slides/_rels/slide26.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37.xml"/><Relationship Id="rId7" Type="http://schemas.openxmlformats.org/officeDocument/2006/relationships/oleObject" Target="../embeddings/oleObject15.bin"/><Relationship Id="rId2" Type="http://schemas.openxmlformats.org/officeDocument/2006/relationships/tags" Target="../tags/tag36.xml"/><Relationship Id="rId1" Type="http://schemas.openxmlformats.org/officeDocument/2006/relationships/vmlDrawing" Target="../drawings/vmlDrawing15.vml"/><Relationship Id="rId6" Type="http://schemas.openxmlformats.org/officeDocument/2006/relationships/notesSlide" Target="../notesSlides/notesSlide22.xml"/><Relationship Id="rId5" Type="http://schemas.openxmlformats.org/officeDocument/2006/relationships/slideLayout" Target="../slideLayouts/slideLayout3.xml"/><Relationship Id="rId4" Type="http://schemas.openxmlformats.org/officeDocument/2006/relationships/tags" Target="../tags/tag38.xml"/></Relationships>
</file>

<file path=ppt/slides/_rels/slide27.xml.rels><?xml version="1.0" encoding="UTF-8" standalone="yes"?>
<Relationships xmlns="http://schemas.openxmlformats.org/package/2006/relationships"><Relationship Id="rId3" Type="http://schemas.openxmlformats.org/officeDocument/2006/relationships/tags" Target="../tags/tag40.xml"/><Relationship Id="rId7" Type="http://schemas.openxmlformats.org/officeDocument/2006/relationships/image" Target="../media/image9.emf"/><Relationship Id="rId2" Type="http://schemas.openxmlformats.org/officeDocument/2006/relationships/tags" Target="../tags/tag39.xml"/><Relationship Id="rId1" Type="http://schemas.openxmlformats.org/officeDocument/2006/relationships/vmlDrawing" Target="../drawings/vmlDrawing16.vml"/><Relationship Id="rId6" Type="http://schemas.openxmlformats.org/officeDocument/2006/relationships/oleObject" Target="../embeddings/oleObject16.bin"/><Relationship Id="rId5" Type="http://schemas.openxmlformats.org/officeDocument/2006/relationships/notesSlide" Target="../notesSlides/notesSlide23.xml"/><Relationship Id="rId4" Type="http://schemas.openxmlformats.org/officeDocument/2006/relationships/slideLayout" Target="../slideLayouts/slideLayout9.xml"/></Relationships>
</file>

<file path=ppt/slides/_rels/slide28.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42.xml"/><Relationship Id="rId7" Type="http://schemas.openxmlformats.org/officeDocument/2006/relationships/oleObject" Target="../embeddings/oleObject17.bin"/><Relationship Id="rId2" Type="http://schemas.openxmlformats.org/officeDocument/2006/relationships/tags" Target="../tags/tag41.xml"/><Relationship Id="rId1" Type="http://schemas.openxmlformats.org/officeDocument/2006/relationships/vmlDrawing" Target="../drawings/vmlDrawing17.vml"/><Relationship Id="rId6" Type="http://schemas.openxmlformats.org/officeDocument/2006/relationships/notesSlide" Target="../notesSlides/notesSlide24.xml"/><Relationship Id="rId5" Type="http://schemas.openxmlformats.org/officeDocument/2006/relationships/slideLayout" Target="../slideLayouts/slideLayout3.xml"/><Relationship Id="rId4" Type="http://schemas.openxmlformats.org/officeDocument/2006/relationships/tags" Target="../tags/tag43.xml"/></Relationships>
</file>

<file path=ppt/slides/_rels/slide29.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45.xml"/><Relationship Id="rId7" Type="http://schemas.openxmlformats.org/officeDocument/2006/relationships/oleObject" Target="../embeddings/oleObject18.bin"/><Relationship Id="rId2" Type="http://schemas.openxmlformats.org/officeDocument/2006/relationships/tags" Target="../tags/tag44.xml"/><Relationship Id="rId1" Type="http://schemas.openxmlformats.org/officeDocument/2006/relationships/vmlDrawing" Target="../drawings/vmlDrawing18.vml"/><Relationship Id="rId6" Type="http://schemas.openxmlformats.org/officeDocument/2006/relationships/notesSlide" Target="../notesSlides/notesSlide25.xml"/><Relationship Id="rId5" Type="http://schemas.openxmlformats.org/officeDocument/2006/relationships/slideLayout" Target="../slideLayouts/slideLayout3.xml"/><Relationship Id="rId4" Type="http://schemas.openxmlformats.org/officeDocument/2006/relationships/tags" Target="../tags/tag46.xml"/></Relationships>
</file>

<file path=ppt/slides/_rels/slide3.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4.xml"/><Relationship Id="rId7" Type="http://schemas.openxmlformats.org/officeDocument/2006/relationships/oleObject" Target="../embeddings/oleObject2.bin"/><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notesSlide" Target="../notesSlides/notesSlide2.xml"/><Relationship Id="rId5" Type="http://schemas.openxmlformats.org/officeDocument/2006/relationships/slideLayout" Target="../slideLayouts/slideLayout8.xml"/><Relationship Id="rId4" Type="http://schemas.openxmlformats.org/officeDocument/2006/relationships/tags" Target="../tags/tag5.xml"/></Relationships>
</file>

<file path=ppt/slides/_rels/slide30.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47.xml"/><Relationship Id="rId1" Type="http://schemas.openxmlformats.org/officeDocument/2006/relationships/vmlDrawing" Target="../drawings/vmlDrawing19.vml"/><Relationship Id="rId6" Type="http://schemas.openxmlformats.org/officeDocument/2006/relationships/image" Target="../media/image9.emf"/><Relationship Id="rId5" Type="http://schemas.openxmlformats.org/officeDocument/2006/relationships/oleObject" Target="../embeddings/oleObject19.bin"/><Relationship Id="rId4" Type="http://schemas.openxmlformats.org/officeDocument/2006/relationships/notesSlide" Target="../notesSlides/notesSlide26.xml"/></Relationships>
</file>

<file path=ppt/slides/_rels/slide31.xml.rels><?xml version="1.0" encoding="UTF-8" standalone="yes"?>
<Relationships xmlns="http://schemas.openxmlformats.org/package/2006/relationships"><Relationship Id="rId3" Type="http://schemas.openxmlformats.org/officeDocument/2006/relationships/tags" Target="../tags/tag49.xml"/><Relationship Id="rId7" Type="http://schemas.openxmlformats.org/officeDocument/2006/relationships/image" Target="../media/image9.emf"/><Relationship Id="rId2" Type="http://schemas.openxmlformats.org/officeDocument/2006/relationships/tags" Target="../tags/tag48.xml"/><Relationship Id="rId1" Type="http://schemas.openxmlformats.org/officeDocument/2006/relationships/vmlDrawing" Target="../drawings/vmlDrawing20.vml"/><Relationship Id="rId6" Type="http://schemas.openxmlformats.org/officeDocument/2006/relationships/oleObject" Target="../embeddings/oleObject20.bin"/><Relationship Id="rId5" Type="http://schemas.openxmlformats.org/officeDocument/2006/relationships/notesSlide" Target="../notesSlides/notesSlide27.xml"/><Relationship Id="rId4"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8" Type="http://schemas.openxmlformats.org/officeDocument/2006/relationships/oleObject" Target="../embeddings/oleObject21.bin"/><Relationship Id="rId3" Type="http://schemas.openxmlformats.org/officeDocument/2006/relationships/tags" Target="../tags/tag51.xml"/><Relationship Id="rId7" Type="http://schemas.openxmlformats.org/officeDocument/2006/relationships/notesSlide" Target="../notesSlides/notesSlide28.xml"/><Relationship Id="rId12" Type="http://schemas.openxmlformats.org/officeDocument/2006/relationships/hyperlink" Target="http://blogs.msdn.com/b/henrikn/archive/2012/02/19/using-web-api-with-mongodb.aspx" TargetMode="External"/><Relationship Id="rId2" Type="http://schemas.openxmlformats.org/officeDocument/2006/relationships/tags" Target="../tags/tag50.xml"/><Relationship Id="rId1" Type="http://schemas.openxmlformats.org/officeDocument/2006/relationships/vmlDrawing" Target="../drawings/vmlDrawing21.vml"/><Relationship Id="rId6" Type="http://schemas.openxmlformats.org/officeDocument/2006/relationships/slideLayout" Target="../slideLayouts/slideLayout6.xml"/><Relationship Id="rId11" Type="http://schemas.openxmlformats.org/officeDocument/2006/relationships/hyperlink" Target="http://channel9.msdn.com/Shows/Web+Camps+TV/Dan-Roth-on-the-new-ASPNET-Web-API" TargetMode="External"/><Relationship Id="rId5" Type="http://schemas.openxmlformats.org/officeDocument/2006/relationships/tags" Target="../tags/tag53.xml"/><Relationship Id="rId10" Type="http://schemas.openxmlformats.org/officeDocument/2006/relationships/hyperlink" Target="http://www.asp.net/web-api" TargetMode="External"/><Relationship Id="rId4" Type="http://schemas.openxmlformats.org/officeDocument/2006/relationships/tags" Target="../tags/tag52.xml"/><Relationship Id="rId9" Type="http://schemas.openxmlformats.org/officeDocument/2006/relationships/image" Target="../media/image9.emf"/></Relationships>
</file>

<file path=ppt/slides/_rels/slide33.xml.rels><?xml version="1.0" encoding="UTF-8" standalone="yes"?>
<Relationships xmlns="http://schemas.openxmlformats.org/package/2006/relationships"><Relationship Id="rId8" Type="http://schemas.openxmlformats.org/officeDocument/2006/relationships/hyperlink" Target="http://forums.dev.windows.com/" TargetMode="External"/><Relationship Id="rId3" Type="http://schemas.openxmlformats.org/officeDocument/2006/relationships/tags" Target="../tags/tag55.xml"/><Relationship Id="rId7" Type="http://schemas.openxmlformats.org/officeDocument/2006/relationships/image" Target="../media/image9.emf"/><Relationship Id="rId2" Type="http://schemas.openxmlformats.org/officeDocument/2006/relationships/tags" Target="../tags/tag54.xml"/><Relationship Id="rId1" Type="http://schemas.openxmlformats.org/officeDocument/2006/relationships/vmlDrawing" Target="../drawings/vmlDrawing22.vml"/><Relationship Id="rId6" Type="http://schemas.openxmlformats.org/officeDocument/2006/relationships/oleObject" Target="../embeddings/oleObject22.bin"/><Relationship Id="rId5" Type="http://schemas.openxmlformats.org/officeDocument/2006/relationships/notesSlide" Target="../notesSlides/notesSlide29.xml"/><Relationship Id="rId4" Type="http://schemas.openxmlformats.org/officeDocument/2006/relationships/slideLayout" Target="../slideLayouts/slideLayout2.xml"/><Relationship Id="rId9" Type="http://schemas.openxmlformats.org/officeDocument/2006/relationships/hyperlink" Target="http://bldw.in/SessionFeedback" TargetMode="External"/></Relationships>
</file>

<file path=ppt/slides/_rels/slide34.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56.xml"/><Relationship Id="rId1" Type="http://schemas.openxmlformats.org/officeDocument/2006/relationships/vmlDrawing" Target="../drawings/vmlDrawing23.vml"/><Relationship Id="rId6" Type="http://schemas.openxmlformats.org/officeDocument/2006/relationships/image" Target="../media/image9.emf"/><Relationship Id="rId5" Type="http://schemas.openxmlformats.org/officeDocument/2006/relationships/oleObject" Target="../embeddings/oleObject23.bin"/><Relationship Id="rId4" Type="http://schemas.openxmlformats.org/officeDocument/2006/relationships/notesSlide" Target="../notesSlides/notesSlide30.xml"/></Relationships>
</file>

<file path=ppt/slides/_rels/slide4.xml.rels><?xml version="1.0" encoding="UTF-8" standalone="yes"?>
<Relationships xmlns="http://schemas.openxmlformats.org/package/2006/relationships"><Relationship Id="rId8" Type="http://schemas.microsoft.com/office/2007/relationships/hdphoto" Target="../media/hdphoto2.wdp"/><Relationship Id="rId3" Type="http://schemas.openxmlformats.org/officeDocument/2006/relationships/slideLayout" Target="../slideLayouts/slideLayout2.xml"/><Relationship Id="rId7" Type="http://schemas.openxmlformats.org/officeDocument/2006/relationships/image" Target="../media/image10.png"/><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9.emf"/><Relationship Id="rId5" Type="http://schemas.openxmlformats.org/officeDocument/2006/relationships/oleObject" Target="../embeddings/oleObject3.bin"/><Relationship Id="rId4" Type="http://schemas.openxmlformats.org/officeDocument/2006/relationships/notesSlide" Target="../notesSlides/notesSlide3.xml"/><Relationship Id="rId9" Type="http://schemas.openxmlformats.org/officeDocument/2006/relationships/image" Target="../media/image1.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9.emf"/><Relationship Id="rId5" Type="http://schemas.openxmlformats.org/officeDocument/2006/relationships/oleObject" Target="../embeddings/oleObject4.bin"/><Relationship Id="rId4" Type="http://schemas.openxmlformats.org/officeDocument/2006/relationships/notesSlide" Target="../notesSlides/notesSlide5.xml"/></Relationships>
</file>

<file path=ppt/slides/_rels/slide7.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9.xml"/><Relationship Id="rId7" Type="http://schemas.openxmlformats.org/officeDocument/2006/relationships/image" Target="../media/image9.emf"/><Relationship Id="rId2" Type="http://schemas.openxmlformats.org/officeDocument/2006/relationships/tags" Target="../tags/tag8.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notesSlide" Target="../notesSlides/notesSlide6.xml"/><Relationship Id="rId4"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8" Type="http://schemas.openxmlformats.org/officeDocument/2006/relationships/oleObject" Target="../embeddings/oleObject6.bin"/><Relationship Id="rId3" Type="http://schemas.openxmlformats.org/officeDocument/2006/relationships/tags" Target="../tags/tag11.xml"/><Relationship Id="rId7" Type="http://schemas.openxmlformats.org/officeDocument/2006/relationships/notesSlide" Target="../notesSlides/notesSlide7.xml"/><Relationship Id="rId2" Type="http://schemas.openxmlformats.org/officeDocument/2006/relationships/tags" Target="../tags/tag10.xml"/><Relationship Id="rId1" Type="http://schemas.openxmlformats.org/officeDocument/2006/relationships/vmlDrawing" Target="../drawings/vmlDrawing6.vml"/><Relationship Id="rId6" Type="http://schemas.openxmlformats.org/officeDocument/2006/relationships/slideLayout" Target="../slideLayouts/slideLayout6.xml"/><Relationship Id="rId5" Type="http://schemas.openxmlformats.org/officeDocument/2006/relationships/tags" Target="../tags/tag13.xml"/><Relationship Id="rId10" Type="http://schemas.openxmlformats.org/officeDocument/2006/relationships/image" Target="../media/image12.png"/><Relationship Id="rId4" Type="http://schemas.openxmlformats.org/officeDocument/2006/relationships/tags" Target="../tags/tag12.xml"/><Relationship Id="rId9" Type="http://schemas.openxmlformats.org/officeDocument/2006/relationships/image" Target="../media/image9.emf"/></Relationships>
</file>

<file path=ppt/slides/_rels/slide9.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15.xml"/><Relationship Id="rId7" Type="http://schemas.openxmlformats.org/officeDocument/2006/relationships/oleObject" Target="../embeddings/oleObject7.bin"/><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notesSlide" Target="../notesSlides/notesSlide8.xml"/><Relationship Id="rId5" Type="http://schemas.openxmlformats.org/officeDocument/2006/relationships/slideLayout" Target="../slideLayouts/slideLayout3.xml"/><Relationship Id="rId4" Type="http://schemas.openxmlformats.org/officeDocument/2006/relationships/tags" Target="../tags/tag1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WebCamps</a:t>
            </a:r>
            <a:r>
              <a:rPr lang="en-US" dirty="0"/>
              <a:t> Online</a:t>
            </a:r>
          </a:p>
        </p:txBody>
      </p:sp>
      <p:grpSp>
        <p:nvGrpSpPr>
          <p:cNvPr id="16" name="Group 15"/>
          <p:cNvGrpSpPr/>
          <p:nvPr/>
        </p:nvGrpSpPr>
        <p:grpSpPr>
          <a:xfrm>
            <a:off x="-1" y="1141412"/>
            <a:ext cx="11676064" cy="1645920"/>
            <a:chOff x="-1" y="1141412"/>
            <a:chExt cx="11676064" cy="1645920"/>
          </a:xfrm>
        </p:grpSpPr>
        <p:sp>
          <p:nvSpPr>
            <p:cNvPr id="4" name="Rectangle 3"/>
            <p:cNvSpPr/>
            <p:nvPr/>
          </p:nvSpPr>
          <p:spPr bwMode="auto">
            <a:xfrm>
              <a:off x="-1" y="1141412"/>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8" name="Rectangle 7"/>
            <p:cNvSpPr/>
            <p:nvPr/>
          </p:nvSpPr>
          <p:spPr>
            <a:xfrm>
              <a:off x="3651849" y="1141412"/>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Twitter: </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a:gradFill>
                    <a:gsLst>
                      <a:gs pos="0">
                        <a:srgbClr val="595959"/>
                      </a:gs>
                      <a:gs pos="86000">
                        <a:srgbClr val="595959"/>
                      </a:gs>
                    </a:gsLst>
                    <a:lin ang="5400000" scaled="0"/>
                  </a:gradFill>
                  <a:latin typeface="Segoe UI Light" pitchFamily="34" charset="0"/>
                </a:rPr>
                <a:t>Follow @</a:t>
              </a:r>
              <a:r>
                <a:rPr lang="en-US" sz="2600" spc="-100" dirty="0" err="1">
                  <a:gradFill>
                    <a:gsLst>
                      <a:gs pos="0">
                        <a:srgbClr val="595959"/>
                      </a:gs>
                      <a:gs pos="86000">
                        <a:srgbClr val="595959"/>
                      </a:gs>
                    </a:gsLst>
                    <a:lin ang="5400000" scaled="0"/>
                  </a:gradFill>
                  <a:latin typeface="Segoe UI Light" pitchFamily="34" charset="0"/>
                </a:rPr>
                <a:t>webcamps</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err="1">
                  <a:gradFill>
                    <a:gsLst>
                      <a:gs pos="0">
                        <a:srgbClr val="595959"/>
                      </a:gs>
                      <a:gs pos="86000">
                        <a:srgbClr val="595959"/>
                      </a:gs>
                    </a:gsLst>
                    <a:lin ang="5400000" scaled="0"/>
                  </a:gradFill>
                  <a:latin typeface="Segoe UI Light" pitchFamily="34" charset="0"/>
                </a:rPr>
                <a:t>Hashtag</a:t>
              </a:r>
              <a:r>
                <a:rPr lang="en-US" sz="2600" spc="-100" dirty="0">
                  <a:gradFill>
                    <a:gsLst>
                      <a:gs pos="0">
                        <a:srgbClr val="595959"/>
                      </a:gs>
                      <a:gs pos="86000">
                        <a:srgbClr val="595959"/>
                      </a:gs>
                    </a:gsLst>
                    <a:lin ang="5400000" scaled="0"/>
                  </a:gradFill>
                  <a:latin typeface="Segoe UI Light" pitchFamily="34" charset="0"/>
                </a:rPr>
                <a:t> #</a:t>
              </a:r>
              <a:r>
                <a:rPr lang="en-US" sz="2600" spc="-100" dirty="0" err="1">
                  <a:gradFill>
                    <a:gsLst>
                      <a:gs pos="0">
                        <a:srgbClr val="595959"/>
                      </a:gs>
                      <a:gs pos="86000">
                        <a:srgbClr val="595959"/>
                      </a:gs>
                    </a:gsLst>
                    <a:lin ang="5400000" scaled="0"/>
                  </a:gradFill>
                  <a:latin typeface="Segoe UI Light" pitchFamily="34" charset="0"/>
                </a:rPr>
                <a:t>webcamps</a:t>
              </a:r>
              <a:endParaRPr lang="en-US" sz="2600" spc="-100" dirty="0">
                <a:gradFill>
                  <a:gsLst>
                    <a:gs pos="0">
                      <a:srgbClr val="595959"/>
                    </a:gs>
                    <a:gs pos="86000">
                      <a:srgbClr val="595959"/>
                    </a:gs>
                  </a:gsLst>
                  <a:lin ang="5400000" scaled="0"/>
                </a:gradFill>
                <a:latin typeface="Segoe UI Light" pitchFamily="34" charset="0"/>
              </a:endParaRPr>
            </a:p>
            <a:p>
              <a:pPr marL="3175" lvl="0" defTabSz="914363">
                <a:lnSpc>
                  <a:spcPct val="90000"/>
                </a:lnSpc>
                <a:spcBef>
                  <a:spcPts val="600"/>
                </a:spcBef>
                <a:buSzPct val="80000"/>
              </a:pPr>
              <a:r>
                <a:rPr lang="en-US" sz="2600" spc="-100" dirty="0">
                  <a:gradFill>
                    <a:gsLst>
                      <a:gs pos="0">
                        <a:srgbClr val="595959"/>
                      </a:gs>
                      <a:gs pos="86000">
                        <a:srgbClr val="595959"/>
                      </a:gs>
                    </a:gsLst>
                    <a:lin ang="5400000" scaled="0"/>
                  </a:gradFill>
                  <a:latin typeface="Segoe UI Light" pitchFamily="34" charset="0"/>
                </a:rPr>
                <a:t>SPEAKER NAME/HANDLE HERE</a:t>
              </a:r>
            </a:p>
          </p:txBody>
        </p:sp>
        <p:sp>
          <p:nvSpPr>
            <p:cNvPr id="9" name="Freeform 13"/>
            <p:cNvSpPr>
              <a:spLocks noEditPoints="1"/>
            </p:cNvSpPr>
            <p:nvPr/>
          </p:nvSpPr>
          <p:spPr bwMode="black">
            <a:xfrm>
              <a:off x="1198380" y="1141414"/>
              <a:ext cx="1933123" cy="1645918"/>
            </a:xfrm>
            <a:custGeom>
              <a:avLst/>
              <a:gdLst>
                <a:gd name="T0" fmla="*/ 344 w 414"/>
                <a:gd name="T1" fmla="*/ 55 h 353"/>
                <a:gd name="T2" fmla="*/ 296 w 414"/>
                <a:gd name="T3" fmla="*/ 9 h 353"/>
                <a:gd name="T4" fmla="*/ 206 w 414"/>
                <a:gd name="T5" fmla="*/ 45 h 353"/>
                <a:gd name="T6" fmla="*/ 0 w 414"/>
                <a:gd name="T7" fmla="*/ 174 h 353"/>
                <a:gd name="T8" fmla="*/ 158 w 414"/>
                <a:gd name="T9" fmla="*/ 278 h 353"/>
                <a:gd name="T10" fmla="*/ 160 w 414"/>
                <a:gd name="T11" fmla="*/ 278 h 353"/>
                <a:gd name="T12" fmla="*/ 160 w 414"/>
                <a:gd name="T13" fmla="*/ 332 h 353"/>
                <a:gd name="T14" fmla="*/ 133 w 414"/>
                <a:gd name="T15" fmla="*/ 337 h 353"/>
                <a:gd name="T16" fmla="*/ 128 w 414"/>
                <a:gd name="T17" fmla="*/ 347 h 353"/>
                <a:gd name="T18" fmla="*/ 137 w 414"/>
                <a:gd name="T19" fmla="*/ 352 h 353"/>
                <a:gd name="T20" fmla="*/ 137 w 414"/>
                <a:gd name="T21" fmla="*/ 352 h 353"/>
                <a:gd name="T22" fmla="*/ 176 w 414"/>
                <a:gd name="T23" fmla="*/ 346 h 353"/>
                <a:gd name="T24" fmla="*/ 215 w 414"/>
                <a:gd name="T25" fmla="*/ 352 h 353"/>
                <a:gd name="T26" fmla="*/ 218 w 414"/>
                <a:gd name="T27" fmla="*/ 352 h 353"/>
                <a:gd name="T28" fmla="*/ 224 w 414"/>
                <a:gd name="T29" fmla="*/ 347 h 353"/>
                <a:gd name="T30" fmla="*/ 245 w 414"/>
                <a:gd name="T31" fmla="*/ 352 h 353"/>
                <a:gd name="T32" fmla="*/ 248 w 414"/>
                <a:gd name="T33" fmla="*/ 352 h 353"/>
                <a:gd name="T34" fmla="*/ 255 w 414"/>
                <a:gd name="T35" fmla="*/ 347 h 353"/>
                <a:gd name="T36" fmla="*/ 250 w 414"/>
                <a:gd name="T37" fmla="*/ 337 h 353"/>
                <a:gd name="T38" fmla="*/ 207 w 414"/>
                <a:gd name="T39" fmla="*/ 331 h 353"/>
                <a:gd name="T40" fmla="*/ 207 w 414"/>
                <a:gd name="T41" fmla="*/ 271 h 353"/>
                <a:gd name="T42" fmla="*/ 343 w 414"/>
                <a:gd name="T43" fmla="*/ 112 h 353"/>
                <a:gd name="T44" fmla="*/ 414 w 414"/>
                <a:gd name="T45" fmla="*/ 83 h 353"/>
                <a:gd name="T46" fmla="*/ 344 w 414"/>
                <a:gd name="T47" fmla="*/ 55 h 353"/>
                <a:gd name="T48" fmla="*/ 192 w 414"/>
                <a:gd name="T49" fmla="*/ 332 h 353"/>
                <a:gd name="T50" fmla="*/ 192 w 414"/>
                <a:gd name="T51" fmla="*/ 332 h 353"/>
                <a:gd name="T52" fmla="*/ 191 w 414"/>
                <a:gd name="T53" fmla="*/ 332 h 353"/>
                <a:gd name="T54" fmla="*/ 176 w 414"/>
                <a:gd name="T55" fmla="*/ 331 h 353"/>
                <a:gd name="T56" fmla="*/ 175 w 414"/>
                <a:gd name="T57" fmla="*/ 331 h 353"/>
                <a:gd name="T58" fmla="*/ 175 w 414"/>
                <a:gd name="T59" fmla="*/ 277 h 353"/>
                <a:gd name="T60" fmla="*/ 192 w 414"/>
                <a:gd name="T61" fmla="*/ 275 h 353"/>
                <a:gd name="T62" fmla="*/ 192 w 414"/>
                <a:gd name="T63" fmla="*/ 332 h 353"/>
                <a:gd name="T64" fmla="*/ 286 w 414"/>
                <a:gd name="T65" fmla="*/ 82 h 353"/>
                <a:gd name="T66" fmla="*/ 271 w 414"/>
                <a:gd name="T67" fmla="*/ 67 h 353"/>
                <a:gd name="T68" fmla="*/ 286 w 414"/>
                <a:gd name="T69" fmla="*/ 52 h 353"/>
                <a:gd name="T70" fmla="*/ 301 w 414"/>
                <a:gd name="T71" fmla="*/ 67 h 353"/>
                <a:gd name="T72" fmla="*/ 286 w 414"/>
                <a:gd name="T73" fmla="*/ 82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4" h="353">
                  <a:moveTo>
                    <a:pt x="344" y="55"/>
                  </a:moveTo>
                  <a:cubicBezTo>
                    <a:pt x="336" y="33"/>
                    <a:pt x="319" y="16"/>
                    <a:pt x="296" y="9"/>
                  </a:cubicBezTo>
                  <a:cubicBezTo>
                    <a:pt x="263" y="0"/>
                    <a:pt x="228" y="11"/>
                    <a:pt x="206" y="45"/>
                  </a:cubicBezTo>
                  <a:cubicBezTo>
                    <a:pt x="145" y="140"/>
                    <a:pt x="71" y="200"/>
                    <a:pt x="0" y="174"/>
                  </a:cubicBezTo>
                  <a:cubicBezTo>
                    <a:pt x="0" y="174"/>
                    <a:pt x="50" y="278"/>
                    <a:pt x="158" y="278"/>
                  </a:cubicBezTo>
                  <a:cubicBezTo>
                    <a:pt x="159" y="278"/>
                    <a:pt x="160" y="278"/>
                    <a:pt x="160" y="278"/>
                  </a:cubicBezTo>
                  <a:cubicBezTo>
                    <a:pt x="160" y="332"/>
                    <a:pt x="160" y="332"/>
                    <a:pt x="160" y="332"/>
                  </a:cubicBezTo>
                  <a:cubicBezTo>
                    <a:pt x="150" y="333"/>
                    <a:pt x="140" y="335"/>
                    <a:pt x="133" y="337"/>
                  </a:cubicBezTo>
                  <a:cubicBezTo>
                    <a:pt x="129" y="339"/>
                    <a:pt x="127" y="343"/>
                    <a:pt x="128" y="347"/>
                  </a:cubicBezTo>
                  <a:cubicBezTo>
                    <a:pt x="129" y="351"/>
                    <a:pt x="134" y="353"/>
                    <a:pt x="137" y="352"/>
                  </a:cubicBezTo>
                  <a:cubicBezTo>
                    <a:pt x="137" y="352"/>
                    <a:pt x="137" y="352"/>
                    <a:pt x="137" y="352"/>
                  </a:cubicBezTo>
                  <a:cubicBezTo>
                    <a:pt x="147" y="348"/>
                    <a:pt x="161" y="346"/>
                    <a:pt x="176" y="346"/>
                  </a:cubicBezTo>
                  <a:cubicBezTo>
                    <a:pt x="192" y="346"/>
                    <a:pt x="206" y="348"/>
                    <a:pt x="215" y="352"/>
                  </a:cubicBezTo>
                  <a:cubicBezTo>
                    <a:pt x="216" y="352"/>
                    <a:pt x="217" y="352"/>
                    <a:pt x="218" y="352"/>
                  </a:cubicBezTo>
                  <a:cubicBezTo>
                    <a:pt x="221" y="352"/>
                    <a:pt x="223" y="350"/>
                    <a:pt x="224" y="347"/>
                  </a:cubicBezTo>
                  <a:cubicBezTo>
                    <a:pt x="232" y="348"/>
                    <a:pt x="240" y="350"/>
                    <a:pt x="245" y="352"/>
                  </a:cubicBezTo>
                  <a:cubicBezTo>
                    <a:pt x="246" y="352"/>
                    <a:pt x="247" y="352"/>
                    <a:pt x="248" y="352"/>
                  </a:cubicBezTo>
                  <a:cubicBezTo>
                    <a:pt x="251" y="352"/>
                    <a:pt x="254" y="350"/>
                    <a:pt x="255" y="347"/>
                  </a:cubicBezTo>
                  <a:cubicBezTo>
                    <a:pt x="256" y="343"/>
                    <a:pt x="254" y="339"/>
                    <a:pt x="250" y="337"/>
                  </a:cubicBezTo>
                  <a:cubicBezTo>
                    <a:pt x="239" y="334"/>
                    <a:pt x="224" y="331"/>
                    <a:pt x="207" y="331"/>
                  </a:cubicBezTo>
                  <a:cubicBezTo>
                    <a:pt x="207" y="271"/>
                    <a:pt x="207" y="271"/>
                    <a:pt x="207" y="271"/>
                  </a:cubicBezTo>
                  <a:cubicBezTo>
                    <a:pt x="283" y="251"/>
                    <a:pt x="323" y="185"/>
                    <a:pt x="343" y="112"/>
                  </a:cubicBezTo>
                  <a:cubicBezTo>
                    <a:pt x="414" y="83"/>
                    <a:pt x="414" y="83"/>
                    <a:pt x="414" y="83"/>
                  </a:cubicBezTo>
                  <a:lnTo>
                    <a:pt x="344" y="55"/>
                  </a:lnTo>
                  <a:close/>
                  <a:moveTo>
                    <a:pt x="192" y="332"/>
                  </a:moveTo>
                  <a:cubicBezTo>
                    <a:pt x="192" y="332"/>
                    <a:pt x="192" y="332"/>
                    <a:pt x="192" y="332"/>
                  </a:cubicBezTo>
                  <a:cubicBezTo>
                    <a:pt x="192" y="332"/>
                    <a:pt x="192" y="332"/>
                    <a:pt x="191" y="332"/>
                  </a:cubicBezTo>
                  <a:cubicBezTo>
                    <a:pt x="187" y="331"/>
                    <a:pt x="181" y="331"/>
                    <a:pt x="176" y="331"/>
                  </a:cubicBezTo>
                  <a:cubicBezTo>
                    <a:pt x="176" y="331"/>
                    <a:pt x="176" y="331"/>
                    <a:pt x="175" y="331"/>
                  </a:cubicBezTo>
                  <a:cubicBezTo>
                    <a:pt x="175" y="277"/>
                    <a:pt x="175" y="277"/>
                    <a:pt x="175" y="277"/>
                  </a:cubicBezTo>
                  <a:cubicBezTo>
                    <a:pt x="181" y="276"/>
                    <a:pt x="187" y="276"/>
                    <a:pt x="192" y="275"/>
                  </a:cubicBezTo>
                  <a:lnTo>
                    <a:pt x="192" y="332"/>
                  </a:lnTo>
                  <a:close/>
                  <a:moveTo>
                    <a:pt x="286" y="82"/>
                  </a:moveTo>
                  <a:cubicBezTo>
                    <a:pt x="278" y="82"/>
                    <a:pt x="271" y="75"/>
                    <a:pt x="271" y="67"/>
                  </a:cubicBezTo>
                  <a:cubicBezTo>
                    <a:pt x="271" y="59"/>
                    <a:pt x="278" y="52"/>
                    <a:pt x="286" y="52"/>
                  </a:cubicBezTo>
                  <a:cubicBezTo>
                    <a:pt x="294" y="52"/>
                    <a:pt x="301" y="59"/>
                    <a:pt x="301" y="67"/>
                  </a:cubicBezTo>
                  <a:cubicBezTo>
                    <a:pt x="301" y="75"/>
                    <a:pt x="294" y="82"/>
                    <a:pt x="286" y="82"/>
                  </a:cubicBezTo>
                  <a:close/>
                </a:path>
              </a:pathLst>
            </a:custGeom>
            <a:solidFill>
              <a:schemeClr val="bg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a:solidFill>
                  <a:schemeClr val="tx1">
                    <a:lumMod val="50000"/>
                  </a:schemeClr>
                </a:solidFill>
                <a:latin typeface="Segoe Light" pitchFamily="34" charset="0"/>
              </a:endParaRPr>
            </a:p>
          </p:txBody>
        </p:sp>
      </p:grpSp>
      <p:grpSp>
        <p:nvGrpSpPr>
          <p:cNvPr id="17" name="Group 16"/>
          <p:cNvGrpSpPr/>
          <p:nvPr/>
        </p:nvGrpSpPr>
        <p:grpSpPr>
          <a:xfrm>
            <a:off x="-1" y="2872740"/>
            <a:ext cx="11681814" cy="1645920"/>
            <a:chOff x="-1" y="2872740"/>
            <a:chExt cx="11681814" cy="1645920"/>
          </a:xfrm>
        </p:grpSpPr>
        <p:sp>
          <p:nvSpPr>
            <p:cNvPr id="5" name="Rectangle 4"/>
            <p:cNvSpPr/>
            <p:nvPr/>
          </p:nvSpPr>
          <p:spPr bwMode="auto">
            <a:xfrm>
              <a:off x="-1" y="2872740"/>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0" name="Freeform 166"/>
            <p:cNvSpPr>
              <a:spLocks noEditPoints="1"/>
            </p:cNvSpPr>
            <p:nvPr/>
          </p:nvSpPr>
          <p:spPr bwMode="black">
            <a:xfrm>
              <a:off x="1307544" y="2996848"/>
              <a:ext cx="1434068" cy="1388936"/>
            </a:xfrm>
            <a:custGeom>
              <a:avLst/>
              <a:gdLst>
                <a:gd name="T0" fmla="*/ 511 w 538"/>
                <a:gd name="T1" fmla="*/ 164 h 521"/>
                <a:gd name="T2" fmla="*/ 509 w 538"/>
                <a:gd name="T3" fmla="*/ 31 h 521"/>
                <a:gd name="T4" fmla="*/ 322 w 538"/>
                <a:gd name="T5" fmla="*/ 47 h 521"/>
                <a:gd name="T6" fmla="*/ 312 w 538"/>
                <a:gd name="T7" fmla="*/ 46 h 521"/>
                <a:gd name="T8" fmla="*/ 160 w 538"/>
                <a:gd name="T9" fmla="*/ 104 h 521"/>
                <a:gd name="T10" fmla="*/ 89 w 538"/>
                <a:gd name="T11" fmla="*/ 222 h 521"/>
                <a:gd name="T12" fmla="*/ 192 w 538"/>
                <a:gd name="T13" fmla="*/ 132 h 521"/>
                <a:gd name="T14" fmla="*/ 206 w 538"/>
                <a:gd name="T15" fmla="*/ 125 h 521"/>
                <a:gd name="T16" fmla="*/ 176 w 538"/>
                <a:gd name="T17" fmla="*/ 153 h 521"/>
                <a:gd name="T18" fmla="*/ 50 w 538"/>
                <a:gd name="T19" fmla="*/ 488 h 521"/>
                <a:gd name="T20" fmla="*/ 213 w 538"/>
                <a:gd name="T21" fmla="*/ 475 h 521"/>
                <a:gd name="T22" fmla="*/ 312 w 538"/>
                <a:gd name="T23" fmla="*/ 496 h 521"/>
                <a:gd name="T24" fmla="*/ 441 w 538"/>
                <a:gd name="T25" fmla="*/ 458 h 521"/>
                <a:gd name="T26" fmla="*/ 526 w 538"/>
                <a:gd name="T27" fmla="*/ 348 h 521"/>
                <a:gd name="T28" fmla="*/ 403 w 538"/>
                <a:gd name="T29" fmla="*/ 348 h 521"/>
                <a:gd name="T30" fmla="*/ 313 w 538"/>
                <a:gd name="T31" fmla="*/ 399 h 521"/>
                <a:gd name="T32" fmla="*/ 215 w 538"/>
                <a:gd name="T33" fmla="*/ 304 h 521"/>
                <a:gd name="T34" fmla="*/ 215 w 538"/>
                <a:gd name="T35" fmla="*/ 302 h 521"/>
                <a:gd name="T36" fmla="*/ 214 w 538"/>
                <a:gd name="T37" fmla="*/ 299 h 521"/>
                <a:gd name="T38" fmla="*/ 217 w 538"/>
                <a:gd name="T39" fmla="*/ 299 h 521"/>
                <a:gd name="T40" fmla="*/ 535 w 538"/>
                <a:gd name="T41" fmla="*/ 299 h 521"/>
                <a:gd name="T42" fmla="*/ 535 w 538"/>
                <a:gd name="T43" fmla="*/ 294 h 521"/>
                <a:gd name="T44" fmla="*/ 537 w 538"/>
                <a:gd name="T45" fmla="*/ 270 h 521"/>
                <a:gd name="T46" fmla="*/ 511 w 538"/>
                <a:gd name="T47" fmla="*/ 164 h 521"/>
                <a:gd name="T48" fmla="*/ 85 w 538"/>
                <a:gd name="T49" fmla="*/ 479 h 521"/>
                <a:gd name="T50" fmla="*/ 98 w 538"/>
                <a:gd name="T51" fmla="*/ 346 h 521"/>
                <a:gd name="T52" fmla="*/ 166 w 538"/>
                <a:gd name="T53" fmla="*/ 446 h 521"/>
                <a:gd name="T54" fmla="*/ 197 w 538"/>
                <a:gd name="T55" fmla="*/ 467 h 521"/>
                <a:gd name="T56" fmla="*/ 85 w 538"/>
                <a:gd name="T57" fmla="*/ 479 h 521"/>
                <a:gd name="T58" fmla="*/ 204 w 538"/>
                <a:gd name="T59" fmla="*/ 471 h 521"/>
                <a:gd name="T60" fmla="*/ 205 w 538"/>
                <a:gd name="T61" fmla="*/ 472 h 521"/>
                <a:gd name="T62" fmla="*/ 204 w 538"/>
                <a:gd name="T63" fmla="*/ 471 h 521"/>
                <a:gd name="T64" fmla="*/ 409 w 538"/>
                <a:gd name="T65" fmla="*/ 239 h 521"/>
                <a:gd name="T66" fmla="*/ 217 w 538"/>
                <a:gd name="T67" fmla="*/ 239 h 521"/>
                <a:gd name="T68" fmla="*/ 215 w 538"/>
                <a:gd name="T69" fmla="*/ 239 h 521"/>
                <a:gd name="T70" fmla="*/ 215 w 538"/>
                <a:gd name="T71" fmla="*/ 237 h 521"/>
                <a:gd name="T72" fmla="*/ 316 w 538"/>
                <a:gd name="T73" fmla="*/ 146 h 521"/>
                <a:gd name="T74" fmla="*/ 411 w 538"/>
                <a:gd name="T75" fmla="*/ 237 h 521"/>
                <a:gd name="T76" fmla="*/ 411 w 538"/>
                <a:gd name="T77" fmla="*/ 239 h 521"/>
                <a:gd name="T78" fmla="*/ 409 w 538"/>
                <a:gd name="T79" fmla="*/ 239 h 521"/>
                <a:gd name="T80" fmla="*/ 468 w 538"/>
                <a:gd name="T81" fmla="*/ 108 h 521"/>
                <a:gd name="T82" fmla="*/ 392 w 538"/>
                <a:gd name="T83" fmla="*/ 61 h 521"/>
                <a:gd name="T84" fmla="*/ 507 w 538"/>
                <a:gd name="T85" fmla="*/ 57 h 521"/>
                <a:gd name="T86" fmla="*/ 504 w 538"/>
                <a:gd name="T87" fmla="*/ 152 h 521"/>
                <a:gd name="T88" fmla="*/ 504 w 538"/>
                <a:gd name="T89" fmla="*/ 152 h 521"/>
                <a:gd name="T90" fmla="*/ 468 w 538"/>
                <a:gd name="T91" fmla="*/ 108 h 521"/>
                <a:gd name="T92" fmla="*/ 508 w 538"/>
                <a:gd name="T93" fmla="*/ 158 h 521"/>
                <a:gd name="T94" fmla="*/ 508 w 538"/>
                <a:gd name="T95" fmla="*/ 158 h 521"/>
                <a:gd name="T96" fmla="*/ 508 w 538"/>
                <a:gd name="T97" fmla="*/ 158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38" h="521">
                  <a:moveTo>
                    <a:pt x="511" y="164"/>
                  </a:moveTo>
                  <a:cubicBezTo>
                    <a:pt x="536" y="107"/>
                    <a:pt x="538" y="60"/>
                    <a:pt x="509" y="31"/>
                  </a:cubicBezTo>
                  <a:cubicBezTo>
                    <a:pt x="478" y="0"/>
                    <a:pt x="402" y="9"/>
                    <a:pt x="322" y="47"/>
                  </a:cubicBezTo>
                  <a:cubicBezTo>
                    <a:pt x="319" y="47"/>
                    <a:pt x="315" y="46"/>
                    <a:pt x="312" y="46"/>
                  </a:cubicBezTo>
                  <a:cubicBezTo>
                    <a:pt x="256" y="46"/>
                    <a:pt x="201" y="67"/>
                    <a:pt x="160" y="104"/>
                  </a:cubicBezTo>
                  <a:cubicBezTo>
                    <a:pt x="125" y="135"/>
                    <a:pt x="100" y="176"/>
                    <a:pt x="89" y="222"/>
                  </a:cubicBezTo>
                  <a:cubicBezTo>
                    <a:pt x="97" y="212"/>
                    <a:pt x="142" y="160"/>
                    <a:pt x="192" y="132"/>
                  </a:cubicBezTo>
                  <a:cubicBezTo>
                    <a:pt x="193" y="132"/>
                    <a:pt x="205" y="125"/>
                    <a:pt x="206" y="125"/>
                  </a:cubicBezTo>
                  <a:cubicBezTo>
                    <a:pt x="206" y="125"/>
                    <a:pt x="181" y="148"/>
                    <a:pt x="176" y="153"/>
                  </a:cubicBezTo>
                  <a:cubicBezTo>
                    <a:pt x="65" y="265"/>
                    <a:pt x="0" y="437"/>
                    <a:pt x="50" y="488"/>
                  </a:cubicBezTo>
                  <a:cubicBezTo>
                    <a:pt x="83" y="521"/>
                    <a:pt x="143" y="513"/>
                    <a:pt x="213" y="475"/>
                  </a:cubicBezTo>
                  <a:cubicBezTo>
                    <a:pt x="243" y="489"/>
                    <a:pt x="276" y="496"/>
                    <a:pt x="312" y="496"/>
                  </a:cubicBezTo>
                  <a:cubicBezTo>
                    <a:pt x="359" y="496"/>
                    <a:pt x="404" y="483"/>
                    <a:pt x="441" y="458"/>
                  </a:cubicBezTo>
                  <a:cubicBezTo>
                    <a:pt x="480" y="433"/>
                    <a:pt x="509" y="394"/>
                    <a:pt x="526" y="348"/>
                  </a:cubicBezTo>
                  <a:cubicBezTo>
                    <a:pt x="403" y="348"/>
                    <a:pt x="403" y="348"/>
                    <a:pt x="403" y="348"/>
                  </a:cubicBezTo>
                  <a:cubicBezTo>
                    <a:pt x="388" y="378"/>
                    <a:pt x="351" y="399"/>
                    <a:pt x="313" y="399"/>
                  </a:cubicBezTo>
                  <a:cubicBezTo>
                    <a:pt x="260" y="399"/>
                    <a:pt x="215" y="355"/>
                    <a:pt x="215" y="304"/>
                  </a:cubicBezTo>
                  <a:cubicBezTo>
                    <a:pt x="215" y="302"/>
                    <a:pt x="215" y="302"/>
                    <a:pt x="215" y="302"/>
                  </a:cubicBezTo>
                  <a:cubicBezTo>
                    <a:pt x="214" y="299"/>
                    <a:pt x="214" y="299"/>
                    <a:pt x="214" y="299"/>
                  </a:cubicBezTo>
                  <a:cubicBezTo>
                    <a:pt x="217" y="299"/>
                    <a:pt x="217" y="299"/>
                    <a:pt x="217" y="299"/>
                  </a:cubicBezTo>
                  <a:cubicBezTo>
                    <a:pt x="535" y="299"/>
                    <a:pt x="535" y="299"/>
                    <a:pt x="535" y="299"/>
                  </a:cubicBezTo>
                  <a:cubicBezTo>
                    <a:pt x="535" y="298"/>
                    <a:pt x="535" y="296"/>
                    <a:pt x="535" y="294"/>
                  </a:cubicBezTo>
                  <a:cubicBezTo>
                    <a:pt x="536" y="286"/>
                    <a:pt x="537" y="277"/>
                    <a:pt x="537" y="270"/>
                  </a:cubicBezTo>
                  <a:cubicBezTo>
                    <a:pt x="537" y="232"/>
                    <a:pt x="528" y="196"/>
                    <a:pt x="511" y="164"/>
                  </a:cubicBezTo>
                  <a:close/>
                  <a:moveTo>
                    <a:pt x="85" y="479"/>
                  </a:moveTo>
                  <a:cubicBezTo>
                    <a:pt x="60" y="454"/>
                    <a:pt x="67" y="405"/>
                    <a:pt x="98" y="346"/>
                  </a:cubicBezTo>
                  <a:cubicBezTo>
                    <a:pt x="113" y="386"/>
                    <a:pt x="136" y="420"/>
                    <a:pt x="166" y="446"/>
                  </a:cubicBezTo>
                  <a:cubicBezTo>
                    <a:pt x="176" y="454"/>
                    <a:pt x="186" y="461"/>
                    <a:pt x="197" y="467"/>
                  </a:cubicBezTo>
                  <a:cubicBezTo>
                    <a:pt x="147" y="494"/>
                    <a:pt x="106" y="500"/>
                    <a:pt x="85" y="479"/>
                  </a:cubicBezTo>
                  <a:close/>
                  <a:moveTo>
                    <a:pt x="204" y="471"/>
                  </a:moveTo>
                  <a:cubicBezTo>
                    <a:pt x="204" y="471"/>
                    <a:pt x="205" y="471"/>
                    <a:pt x="205" y="472"/>
                  </a:cubicBezTo>
                  <a:cubicBezTo>
                    <a:pt x="205" y="471"/>
                    <a:pt x="204" y="471"/>
                    <a:pt x="204" y="471"/>
                  </a:cubicBezTo>
                  <a:close/>
                  <a:moveTo>
                    <a:pt x="409" y="239"/>
                  </a:moveTo>
                  <a:cubicBezTo>
                    <a:pt x="217" y="239"/>
                    <a:pt x="217" y="239"/>
                    <a:pt x="217" y="239"/>
                  </a:cubicBezTo>
                  <a:cubicBezTo>
                    <a:pt x="215" y="239"/>
                    <a:pt x="215" y="239"/>
                    <a:pt x="215" y="239"/>
                  </a:cubicBezTo>
                  <a:cubicBezTo>
                    <a:pt x="215" y="237"/>
                    <a:pt x="215" y="237"/>
                    <a:pt x="215" y="237"/>
                  </a:cubicBezTo>
                  <a:cubicBezTo>
                    <a:pt x="217" y="188"/>
                    <a:pt x="264" y="146"/>
                    <a:pt x="316" y="146"/>
                  </a:cubicBezTo>
                  <a:cubicBezTo>
                    <a:pt x="367" y="146"/>
                    <a:pt x="408" y="186"/>
                    <a:pt x="411" y="237"/>
                  </a:cubicBezTo>
                  <a:cubicBezTo>
                    <a:pt x="411" y="239"/>
                    <a:pt x="411" y="239"/>
                    <a:pt x="411" y="239"/>
                  </a:cubicBezTo>
                  <a:lnTo>
                    <a:pt x="409" y="239"/>
                  </a:lnTo>
                  <a:close/>
                  <a:moveTo>
                    <a:pt x="468" y="108"/>
                  </a:moveTo>
                  <a:cubicBezTo>
                    <a:pt x="446" y="87"/>
                    <a:pt x="420" y="72"/>
                    <a:pt x="392" y="61"/>
                  </a:cubicBezTo>
                  <a:cubicBezTo>
                    <a:pt x="443" y="38"/>
                    <a:pt x="485" y="35"/>
                    <a:pt x="507" y="57"/>
                  </a:cubicBezTo>
                  <a:cubicBezTo>
                    <a:pt x="525" y="75"/>
                    <a:pt x="523" y="109"/>
                    <a:pt x="504" y="152"/>
                  </a:cubicBezTo>
                  <a:cubicBezTo>
                    <a:pt x="504" y="152"/>
                    <a:pt x="504" y="152"/>
                    <a:pt x="504" y="152"/>
                  </a:cubicBezTo>
                  <a:cubicBezTo>
                    <a:pt x="494" y="136"/>
                    <a:pt x="482" y="121"/>
                    <a:pt x="468" y="108"/>
                  </a:cubicBezTo>
                  <a:close/>
                  <a:moveTo>
                    <a:pt x="508" y="158"/>
                  </a:moveTo>
                  <a:cubicBezTo>
                    <a:pt x="508" y="158"/>
                    <a:pt x="508" y="158"/>
                    <a:pt x="508" y="158"/>
                  </a:cubicBezTo>
                  <a:cubicBezTo>
                    <a:pt x="508" y="158"/>
                    <a:pt x="508" y="158"/>
                    <a:pt x="508" y="1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Rectangle 10"/>
            <p:cNvSpPr/>
            <p:nvPr/>
          </p:nvSpPr>
          <p:spPr>
            <a:xfrm>
              <a:off x="3643911" y="2872740"/>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Website: </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a:gradFill>
                    <a:gsLst>
                      <a:gs pos="0">
                        <a:srgbClr val="595959"/>
                      </a:gs>
                      <a:gs pos="86000">
                        <a:srgbClr val="595959"/>
                      </a:gs>
                    </a:gsLst>
                    <a:lin ang="5400000" scaled="0"/>
                  </a:gradFill>
                  <a:latin typeface="Segoe UI Light" pitchFamily="34" charset="0"/>
                </a:rPr>
                <a:t>http://www.devcamps.ms/web</a:t>
              </a:r>
            </a:p>
          </p:txBody>
        </p:sp>
        <p:pic>
          <p:nvPicPr>
            <p:cNvPr id="13" name="Picture 2"/>
            <p:cNvPicPr>
              <a:picLocks noChangeAspect="1" noChangeArrowheads="1"/>
            </p:cNvPicPr>
            <p:nvPr/>
          </p:nvPicPr>
          <p:blipFill>
            <a:blip r:embed="rId2" cstate="print">
              <a:extLst>
                <a:ext uri="{28A0092B-C50C-407E-A947-70E740481C1C}">
                  <a14:useLocalDpi xmlns:a14="http://schemas.microsoft.com/office/drawing/2010/main" val="0"/>
                </a:ext>
              </a:extLst>
            </a:blip>
            <a:stretch>
              <a:fillRect/>
            </a:stretch>
          </p:blipFill>
          <p:spPr bwMode="auto">
            <a:xfrm>
              <a:off x="9361067" y="2872740"/>
              <a:ext cx="2320746" cy="164591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8" name="Group 17"/>
          <p:cNvGrpSpPr/>
          <p:nvPr/>
        </p:nvGrpSpPr>
        <p:grpSpPr>
          <a:xfrm>
            <a:off x="-1" y="4604068"/>
            <a:ext cx="11681814" cy="1645920"/>
            <a:chOff x="-1" y="4604068"/>
            <a:chExt cx="11681814" cy="1645920"/>
          </a:xfrm>
        </p:grpSpPr>
        <p:sp>
          <p:nvSpPr>
            <p:cNvPr id="6" name="Rectangle 5"/>
            <p:cNvSpPr/>
            <p:nvPr/>
          </p:nvSpPr>
          <p:spPr bwMode="auto">
            <a:xfrm>
              <a:off x="-1" y="4604068"/>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2" name="Rectangle 11"/>
            <p:cNvSpPr/>
            <p:nvPr/>
          </p:nvSpPr>
          <p:spPr>
            <a:xfrm>
              <a:off x="3657599" y="4604068"/>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What are web camps?</a:t>
              </a:r>
            </a:p>
            <a:p>
              <a:pPr marL="3175" lvl="0" defTabSz="914363">
                <a:lnSpc>
                  <a:spcPct val="90000"/>
                </a:lnSpc>
                <a:spcBef>
                  <a:spcPts val="600"/>
                </a:spcBef>
                <a:buSzPct val="80000"/>
              </a:pPr>
              <a:r>
                <a:rPr lang="en-US" sz="2000" spc="-100" dirty="0">
                  <a:gradFill>
                    <a:gsLst>
                      <a:gs pos="0">
                        <a:srgbClr val="595959"/>
                      </a:gs>
                      <a:gs pos="86000">
                        <a:srgbClr val="595959"/>
                      </a:gs>
                    </a:gsLst>
                    <a:lin ang="5400000" scaled="0"/>
                  </a:gradFill>
                  <a:latin typeface="Segoe UI Light" pitchFamily="34" charset="0"/>
                </a:rPr>
                <a:t>Web Developer Camps are free, fun, no-fluff events for developers, </a:t>
              </a:r>
              <a:r>
                <a:rPr lang="en-US" sz="2000" spc="-100" dirty="0" smtClean="0">
                  <a:gradFill>
                    <a:gsLst>
                      <a:gs pos="0">
                        <a:srgbClr val="595959"/>
                      </a:gs>
                      <a:gs pos="86000">
                        <a:srgbClr val="595959"/>
                      </a:gs>
                    </a:gsLst>
                    <a:lin ang="5400000" scaled="0"/>
                  </a:gradFill>
                  <a:latin typeface="Segoe UI Light" pitchFamily="34" charset="0"/>
                </a:rPr>
                <a:t/>
              </a:r>
              <a:br>
                <a:rPr lang="en-US" sz="2000" spc="-100" dirty="0" smtClean="0">
                  <a:gradFill>
                    <a:gsLst>
                      <a:gs pos="0">
                        <a:srgbClr val="595959"/>
                      </a:gs>
                      <a:gs pos="86000">
                        <a:srgbClr val="595959"/>
                      </a:gs>
                    </a:gsLst>
                    <a:lin ang="5400000" scaled="0"/>
                  </a:gradFill>
                  <a:latin typeface="Segoe UI Light" pitchFamily="34" charset="0"/>
                </a:rPr>
              </a:br>
              <a:r>
                <a:rPr lang="en-US" sz="2000" spc="-100" dirty="0" smtClean="0">
                  <a:gradFill>
                    <a:gsLst>
                      <a:gs pos="0">
                        <a:srgbClr val="595959"/>
                      </a:gs>
                      <a:gs pos="86000">
                        <a:srgbClr val="595959"/>
                      </a:gs>
                    </a:gsLst>
                    <a:lin ang="5400000" scaled="0"/>
                  </a:gradFill>
                  <a:latin typeface="Segoe UI Light" pitchFamily="34" charset="0"/>
                </a:rPr>
                <a:t>by </a:t>
              </a:r>
              <a:r>
                <a:rPr lang="en-US" sz="2000" spc="-100" dirty="0">
                  <a:gradFill>
                    <a:gsLst>
                      <a:gs pos="0">
                        <a:srgbClr val="595959"/>
                      </a:gs>
                      <a:gs pos="86000">
                        <a:srgbClr val="595959"/>
                      </a:gs>
                    </a:gsLst>
                    <a:lin ang="5400000" scaled="0"/>
                  </a:gradFill>
                  <a:latin typeface="Segoe UI Light" pitchFamily="34" charset="0"/>
                </a:rPr>
                <a:t>developers. You learn from experts in a low-key, interactive way </a:t>
              </a:r>
              <a:r>
                <a:rPr lang="en-US" sz="2000" spc="-100" dirty="0" smtClean="0">
                  <a:gradFill>
                    <a:gsLst>
                      <a:gs pos="0">
                        <a:srgbClr val="595959"/>
                      </a:gs>
                      <a:gs pos="86000">
                        <a:srgbClr val="595959"/>
                      </a:gs>
                    </a:gsLst>
                    <a:lin ang="5400000" scaled="0"/>
                  </a:gradFill>
                  <a:latin typeface="Segoe UI Light" pitchFamily="34" charset="0"/>
                </a:rPr>
                <a:t/>
              </a:r>
              <a:br>
                <a:rPr lang="en-US" sz="2000" spc="-100" dirty="0" smtClean="0">
                  <a:gradFill>
                    <a:gsLst>
                      <a:gs pos="0">
                        <a:srgbClr val="595959"/>
                      </a:gs>
                      <a:gs pos="86000">
                        <a:srgbClr val="595959"/>
                      </a:gs>
                    </a:gsLst>
                    <a:lin ang="5400000" scaled="0"/>
                  </a:gradFill>
                  <a:latin typeface="Segoe UI Light" pitchFamily="34" charset="0"/>
                </a:rPr>
              </a:br>
              <a:r>
                <a:rPr lang="en-US" sz="2000" spc="-100" dirty="0" smtClean="0">
                  <a:gradFill>
                    <a:gsLst>
                      <a:gs pos="0">
                        <a:srgbClr val="595959"/>
                      </a:gs>
                      <a:gs pos="86000">
                        <a:srgbClr val="595959"/>
                      </a:gs>
                    </a:gsLst>
                    <a:lin ang="5400000" scaled="0"/>
                  </a:gradFill>
                  <a:latin typeface="Segoe UI Light" pitchFamily="34" charset="0"/>
                </a:rPr>
                <a:t>and </a:t>
              </a:r>
              <a:r>
                <a:rPr lang="en-US" sz="2000" spc="-100" dirty="0">
                  <a:gradFill>
                    <a:gsLst>
                      <a:gs pos="0">
                        <a:srgbClr val="595959"/>
                      </a:gs>
                      <a:gs pos="86000">
                        <a:srgbClr val="595959"/>
                      </a:gs>
                    </a:gsLst>
                    <a:lin ang="5400000" scaled="0"/>
                  </a:gradFill>
                  <a:latin typeface="Segoe UI Light" pitchFamily="34" charset="0"/>
                </a:rPr>
                <a:t>then get hands-on time to apply what you’ve learned.</a:t>
              </a:r>
            </a:p>
          </p:txBody>
        </p:sp>
        <p:pic>
          <p:nvPicPr>
            <p:cNvPr id="14" name="Picture 1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3201" y="5161048"/>
              <a:ext cx="2491812" cy="531960"/>
            </a:xfrm>
            <a:prstGeom prst="rect">
              <a:avLst/>
            </a:prstGeom>
          </p:spPr>
        </p:pic>
      </p:grpSp>
    </p:spTree>
    <p:extLst>
      <p:ext uri="{BB962C8B-B14F-4D97-AF65-F5344CB8AC3E}">
        <p14:creationId xmlns:p14="http://schemas.microsoft.com/office/powerpoint/2010/main" val="264312885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1000"/>
                                        <p:tgtEl>
                                          <p:spTgt spid="16"/>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17"/>
                                        </p:tgtEl>
                                        <p:attrNameLst>
                                          <p:attrName>style.visibility</p:attrName>
                                        </p:attrNameLst>
                                      </p:cBhvr>
                                      <p:to>
                                        <p:strVal val="visible"/>
                                      </p:to>
                                    </p:set>
                                    <p:animEffect transition="in" filter="fade">
                                      <p:cBhvr>
                                        <p:cTn id="11" dur="1000"/>
                                        <p:tgtEl>
                                          <p:spTgt spid="17"/>
                                        </p:tgtEl>
                                      </p:cBhvr>
                                    </p:animEffect>
                                  </p:childTnLst>
                                </p:cTn>
                              </p:par>
                            </p:childTnLst>
                          </p:cTn>
                        </p:par>
                        <p:par>
                          <p:cTn id="12" fill="hold">
                            <p:stCondLst>
                              <p:cond delay="2000"/>
                            </p:stCondLst>
                            <p:childTnLst>
                              <p:par>
                                <p:cTn id="13" presetID="10" presetClass="entr" presetSubtype="0" fill="hold" nodeType="afterEffect">
                                  <p:stCondLst>
                                    <p:cond delay="0"/>
                                  </p:stCondLst>
                                  <p:childTnLst>
                                    <p:set>
                                      <p:cBhvr>
                                        <p:cTn id="14" dur="1" fill="hold">
                                          <p:stCondLst>
                                            <p:cond delay="0"/>
                                          </p:stCondLst>
                                        </p:cTn>
                                        <p:tgtEl>
                                          <p:spTgt spid="18"/>
                                        </p:tgtEl>
                                        <p:attrNameLst>
                                          <p:attrName>style.visibility</p:attrName>
                                        </p:attrNameLst>
                                      </p:cBhvr>
                                      <p:to>
                                        <p:strVal val="visible"/>
                                      </p:to>
                                    </p:set>
                                    <p:animEffect transition="in" filter="fade">
                                      <p:cBhvr>
                                        <p:cTn id="15" dur="10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bwMode="auto">
          <a:xfrm>
            <a:off x="-1" y="2430926"/>
            <a:ext cx="12188825" cy="3108543"/>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4" name="Rectangle 13"/>
          <p:cNvSpPr/>
          <p:nvPr/>
        </p:nvSpPr>
        <p:spPr bwMode="auto">
          <a:xfrm>
            <a:off x="0" y="1158338"/>
            <a:ext cx="12188825" cy="1166331"/>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 name="Title 2"/>
          <p:cNvSpPr>
            <a:spLocks noGrp="1"/>
          </p:cNvSpPr>
          <p:nvPr>
            <p:ph type="title"/>
          </p:nvPr>
        </p:nvSpPr>
        <p:spPr>
          <a:xfrm>
            <a:off x="519112" y="228600"/>
            <a:ext cx="11149013" cy="664797"/>
          </a:xfrm>
        </p:spPr>
        <p:txBody>
          <a:bodyPr/>
          <a:lstStyle/>
          <a:p>
            <a:r>
              <a:rPr lang="en-US" sz="4800" dirty="0" smtClean="0"/>
              <a:t>Sample Read-only Model and Controller</a:t>
            </a:r>
            <a:endParaRPr lang="en-US" sz="4800" dirty="0"/>
          </a:p>
        </p:txBody>
      </p:sp>
      <p:sp>
        <p:nvSpPr>
          <p:cNvPr id="5" name="TextBox 4"/>
          <p:cNvSpPr txBox="1"/>
          <p:nvPr/>
        </p:nvSpPr>
        <p:spPr>
          <a:xfrm>
            <a:off x="5130025" y="1155118"/>
            <a:ext cx="6211891" cy="1169551"/>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a:solidFill>
                  <a:schemeClr val="lt1">
                    <a:alpha val="99000"/>
                  </a:schemeClr>
                </a:solidFill>
                <a:latin typeface="Consolas" pitchFamily="49" charset="0"/>
                <a:cs typeface="Consolas" pitchFamily="49" charset="0"/>
              </a:rPr>
              <a:t>public class Person</a:t>
            </a:r>
          </a:p>
          <a:p>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public </a:t>
            </a:r>
            <a:r>
              <a:rPr lang="en-US" sz="1400" dirty="0" err="1">
                <a:solidFill>
                  <a:schemeClr val="lt1">
                    <a:alpha val="99000"/>
                  </a:schemeClr>
                </a:solidFill>
                <a:latin typeface="Consolas" pitchFamily="49" charset="0"/>
                <a:cs typeface="Consolas" pitchFamily="49" charset="0"/>
              </a:rPr>
              <a:t>int</a:t>
            </a:r>
            <a:r>
              <a:rPr lang="en-US" sz="1400" dirty="0">
                <a:solidFill>
                  <a:schemeClr val="lt1">
                    <a:alpha val="99000"/>
                  </a:schemeClr>
                </a:solidFill>
                <a:latin typeface="Consolas" pitchFamily="49" charset="0"/>
                <a:cs typeface="Consolas" pitchFamily="49" charset="0"/>
              </a:rPr>
              <a:t> Id { get; set; }</a:t>
            </a:r>
          </a:p>
          <a:p>
            <a:r>
              <a:rPr lang="en-US" sz="1400" dirty="0">
                <a:solidFill>
                  <a:schemeClr val="lt1">
                    <a:alpha val="99000"/>
                  </a:schemeClr>
                </a:solidFill>
                <a:latin typeface="Consolas" pitchFamily="49" charset="0"/>
                <a:cs typeface="Consolas" pitchFamily="49" charset="0"/>
              </a:rPr>
              <a:t>    public string Name { get; set; }</a:t>
            </a:r>
          </a:p>
          <a:p>
            <a:r>
              <a:rPr lang="en-US" sz="1400" dirty="0">
                <a:solidFill>
                  <a:schemeClr val="lt1">
                    <a:alpha val="99000"/>
                  </a:schemeClr>
                </a:solidFill>
                <a:latin typeface="Consolas" pitchFamily="49" charset="0"/>
                <a:cs typeface="Consolas" pitchFamily="49" charset="0"/>
              </a:rPr>
              <a:t>}</a:t>
            </a:r>
            <a:endParaRPr lang="en-US" sz="1400" dirty="0" smtClean="0">
              <a:solidFill>
                <a:schemeClr val="lt1">
                  <a:alpha val="99000"/>
                </a:schemeClr>
              </a:solidFill>
              <a:latin typeface="Consolas" pitchFamily="49" charset="0"/>
              <a:cs typeface="Consolas" pitchFamily="49" charset="0"/>
            </a:endParaRPr>
          </a:p>
        </p:txBody>
      </p:sp>
      <p:sp>
        <p:nvSpPr>
          <p:cNvPr id="8" name="Rectangle 7"/>
          <p:cNvSpPr/>
          <p:nvPr/>
        </p:nvSpPr>
        <p:spPr>
          <a:xfrm>
            <a:off x="433839" y="1158338"/>
            <a:ext cx="2167838" cy="1077218"/>
          </a:xfrm>
          <a:prstGeom prst="rect">
            <a:avLst/>
          </a:prstGeom>
        </p:spPr>
        <p:txBody>
          <a:bodyPr wrap="none">
            <a:spAutoFit/>
          </a:bodyPr>
          <a:lstStyle/>
          <a:p>
            <a:r>
              <a:rPr lang="en-US" sz="4000" dirty="0" smtClean="0">
                <a:solidFill>
                  <a:schemeClr val="accent2">
                    <a:alpha val="99000"/>
                  </a:schemeClr>
                </a:solidFill>
                <a:latin typeface="Segoe UI Light" pitchFamily="34" charset="0"/>
              </a:rPr>
              <a:t>Step 1:</a:t>
            </a:r>
            <a:endParaRPr lang="en-US" sz="4000" dirty="0">
              <a:solidFill>
                <a:schemeClr val="accent2">
                  <a:alpha val="99000"/>
                </a:schemeClr>
              </a:solidFill>
              <a:latin typeface="Segoe UI Light" pitchFamily="34" charset="0"/>
            </a:endParaRPr>
          </a:p>
          <a:p>
            <a:r>
              <a:rPr lang="en-US" dirty="0" smtClean="0">
                <a:solidFill>
                  <a:schemeClr val="tx2">
                    <a:alpha val="99000"/>
                  </a:schemeClr>
                </a:solidFill>
                <a:latin typeface="Segoe UI Light" pitchFamily="34" charset="0"/>
              </a:rPr>
              <a:t>Create a Model</a:t>
            </a:r>
            <a:endParaRPr lang="en-US" dirty="0">
              <a:solidFill>
                <a:schemeClr val="tx2">
                  <a:alpha val="99000"/>
                </a:schemeClr>
              </a:solidFill>
              <a:latin typeface="Segoe UI Light" pitchFamily="34" charset="0"/>
            </a:endParaRPr>
          </a:p>
        </p:txBody>
      </p:sp>
      <p:sp>
        <p:nvSpPr>
          <p:cNvPr id="9" name="TextBox 8"/>
          <p:cNvSpPr txBox="1"/>
          <p:nvPr/>
        </p:nvSpPr>
        <p:spPr>
          <a:xfrm>
            <a:off x="5130023" y="2430926"/>
            <a:ext cx="6211893" cy="3108543"/>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a:solidFill>
                  <a:schemeClr val="lt1">
                    <a:alpha val="99000"/>
                  </a:schemeClr>
                </a:solidFill>
                <a:latin typeface="Consolas" pitchFamily="49" charset="0"/>
                <a:cs typeface="Consolas" pitchFamily="49" charset="0"/>
              </a:rPr>
              <a:t>public class </a:t>
            </a:r>
            <a:r>
              <a:rPr lang="en-US" sz="1400" dirty="0" err="1">
                <a:solidFill>
                  <a:schemeClr val="lt1">
                    <a:alpha val="99000"/>
                  </a:schemeClr>
                </a:solidFill>
                <a:latin typeface="Consolas" pitchFamily="49" charset="0"/>
                <a:cs typeface="Consolas" pitchFamily="49" charset="0"/>
              </a:rPr>
              <a:t>PersonController</a:t>
            </a:r>
            <a:r>
              <a:rPr lang="en-US" sz="1400" dirty="0">
                <a:solidFill>
                  <a:schemeClr val="lt1">
                    <a:alpha val="99000"/>
                  </a:schemeClr>
                </a:solidFill>
                <a:latin typeface="Consolas" pitchFamily="49" charset="0"/>
                <a:cs typeface="Consolas" pitchFamily="49" charset="0"/>
              </a:rPr>
              <a:t> : </a:t>
            </a:r>
            <a:r>
              <a:rPr lang="en-US" sz="1400" dirty="0" err="1">
                <a:solidFill>
                  <a:schemeClr val="accent4">
                    <a:lumMod val="40000"/>
                    <a:lumOff val="60000"/>
                    <a:alpha val="99000"/>
                  </a:schemeClr>
                </a:solidFill>
                <a:latin typeface="Consolas" pitchFamily="49" charset="0"/>
                <a:cs typeface="Consolas" pitchFamily="49" charset="0"/>
              </a:rPr>
              <a:t>ApiController</a:t>
            </a:r>
            <a:endParaRPr lang="en-US" sz="1400" dirty="0">
              <a:solidFill>
                <a:schemeClr val="accent4">
                  <a:lumMod val="40000"/>
                  <a:lumOff val="60000"/>
                  <a:alpha val="99000"/>
                </a:schemeClr>
              </a:solidFill>
              <a:latin typeface="Consolas" pitchFamily="49" charset="0"/>
              <a:cs typeface="Consolas" pitchFamily="49" charset="0"/>
            </a:endParaRPr>
          </a:p>
          <a:p>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List&lt;Person&gt; _people</a:t>
            </a:r>
            <a:r>
              <a:rPr lang="en-US" sz="1400" dirty="0" smtClean="0">
                <a:solidFill>
                  <a:schemeClr val="lt1">
                    <a:alpha val="99000"/>
                  </a:schemeClr>
                </a:solidFill>
                <a:latin typeface="Consolas" pitchFamily="49" charset="0"/>
                <a:cs typeface="Consolas" pitchFamily="49" charset="0"/>
              </a:rPr>
              <a:t>;</a:t>
            </a:r>
            <a:endParaRPr lang="en-US" sz="1400" dirty="0">
              <a:solidFill>
                <a:schemeClr val="lt1">
                  <a:alpha val="99000"/>
                </a:schemeClr>
              </a:solidFill>
              <a:latin typeface="Consolas" pitchFamily="49" charset="0"/>
              <a:cs typeface="Consolas" pitchFamily="49" charset="0"/>
            </a:endParaRPr>
          </a:p>
          <a:p>
            <a:r>
              <a:rPr lang="en-US" sz="1400" dirty="0">
                <a:solidFill>
                  <a:schemeClr val="lt1">
                    <a:alpha val="99000"/>
                  </a:schemeClr>
                </a:solidFill>
                <a:latin typeface="Consolas" pitchFamily="49" charset="0"/>
                <a:cs typeface="Consolas" pitchFamily="49" charset="0"/>
              </a:rPr>
              <a:t>    public </a:t>
            </a:r>
            <a:r>
              <a:rPr lang="en-US" sz="1400" dirty="0" err="1">
                <a:solidFill>
                  <a:schemeClr val="lt1">
                    <a:alpha val="99000"/>
                  </a:schemeClr>
                </a:solidFill>
                <a:latin typeface="Consolas" pitchFamily="49" charset="0"/>
                <a:cs typeface="Consolas" pitchFamily="49" charset="0"/>
              </a:rPr>
              <a:t>PersonController</a:t>
            </a:r>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        _people = new List&lt;Person&gt;();</a:t>
            </a:r>
          </a:p>
          <a:p>
            <a:r>
              <a:rPr lang="en-US" sz="1400" dirty="0">
                <a:solidFill>
                  <a:schemeClr val="lt1">
                    <a:alpha val="99000"/>
                  </a:schemeClr>
                </a:solidFill>
                <a:latin typeface="Consolas" pitchFamily="49" charset="0"/>
                <a:cs typeface="Consolas" pitchFamily="49" charset="0"/>
              </a:rPr>
              <a:t>        _</a:t>
            </a:r>
            <a:r>
              <a:rPr lang="en-US" sz="1400" dirty="0" err="1">
                <a:solidFill>
                  <a:schemeClr val="lt1">
                    <a:alpha val="99000"/>
                  </a:schemeClr>
                </a:solidFill>
                <a:latin typeface="Consolas" pitchFamily="49" charset="0"/>
                <a:cs typeface="Consolas" pitchFamily="49" charset="0"/>
              </a:rPr>
              <a:t>people.AddRange</a:t>
            </a:r>
            <a:r>
              <a:rPr lang="en-US" sz="1400" dirty="0">
                <a:solidFill>
                  <a:schemeClr val="lt1">
                    <a:alpha val="99000"/>
                  </a:schemeClr>
                </a:solidFill>
                <a:latin typeface="Consolas" pitchFamily="49" charset="0"/>
                <a:cs typeface="Consolas" pitchFamily="49" charset="0"/>
              </a:rPr>
              <a:t>(new Person[]</a:t>
            </a:r>
          </a:p>
          <a:p>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            new Person { Id = 1, Name = "Chuck Norris" },</a:t>
            </a:r>
          </a:p>
          <a:p>
            <a:r>
              <a:rPr lang="en-US" sz="1400" dirty="0">
                <a:solidFill>
                  <a:schemeClr val="lt1">
                    <a:alpha val="99000"/>
                  </a:schemeClr>
                </a:solidFill>
                <a:latin typeface="Consolas" pitchFamily="49" charset="0"/>
                <a:cs typeface="Consolas" pitchFamily="49" charset="0"/>
              </a:rPr>
              <a:t>            new Person { Id = 2, Name = "David </a:t>
            </a:r>
            <a:r>
              <a:rPr lang="en-US" sz="1400" dirty="0" err="1" smtClean="0">
                <a:solidFill>
                  <a:schemeClr val="lt1">
                    <a:alpha val="99000"/>
                  </a:schemeClr>
                </a:solidFill>
                <a:latin typeface="Consolas" pitchFamily="49" charset="0"/>
                <a:cs typeface="Consolas" pitchFamily="49" charset="0"/>
              </a:rPr>
              <a:t>Carradine</a:t>
            </a:r>
            <a:r>
              <a:rPr lang="en-US" sz="1400" dirty="0">
                <a:solidFill>
                  <a:schemeClr val="lt1">
                    <a:alpha val="99000"/>
                  </a:schemeClr>
                </a:solidFill>
                <a:latin typeface="Consolas" pitchFamily="49" charset="0"/>
                <a:cs typeface="Consolas" pitchFamily="49" charset="0"/>
              </a:rPr>
              <a:t>" </a:t>
            </a:r>
            <a:r>
              <a:rPr lang="en-US" sz="1400" dirty="0" smtClean="0">
                <a:solidFill>
                  <a:schemeClr val="lt1">
                    <a:alpha val="99000"/>
                  </a:schemeClr>
                </a:solidFill>
                <a:latin typeface="Consolas" pitchFamily="49" charset="0"/>
                <a:cs typeface="Consolas" pitchFamily="49" charset="0"/>
              </a:rPr>
              <a:t>},</a:t>
            </a:r>
          </a:p>
          <a:p>
            <a:r>
              <a:rPr lang="en-US" sz="1400" dirty="0" smtClean="0">
                <a:solidFill>
                  <a:schemeClr val="lt1">
                    <a:alpha val="99000"/>
                  </a:schemeClr>
                </a:solidFill>
                <a:latin typeface="Consolas" pitchFamily="49" charset="0"/>
                <a:cs typeface="Consolas" pitchFamily="49" charset="0"/>
              </a:rPr>
              <a:t>            new Person { Id = 3, Name = "Bruce Lee" }</a:t>
            </a:r>
          </a:p>
          <a:p>
            <a:r>
              <a:rPr lang="en-US" sz="1400" dirty="0" smtClean="0">
                <a:solidFill>
                  <a:schemeClr val="lt1">
                    <a:alpha val="99000"/>
                  </a:schemeClr>
                </a:solidFill>
                <a:latin typeface="Consolas" pitchFamily="49" charset="0"/>
                <a:cs typeface="Consolas" pitchFamily="49" charset="0"/>
              </a:rPr>
              <a:t>        </a:t>
            </a:r>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a:t>
            </a:r>
            <a:endParaRPr lang="en-US" sz="1400" dirty="0" smtClean="0">
              <a:solidFill>
                <a:schemeClr val="lt1">
                  <a:alpha val="99000"/>
                </a:schemeClr>
              </a:solidFill>
              <a:latin typeface="Consolas" pitchFamily="49" charset="0"/>
              <a:cs typeface="Consolas" pitchFamily="49" charset="0"/>
            </a:endParaRPr>
          </a:p>
        </p:txBody>
      </p:sp>
      <p:sp>
        <p:nvSpPr>
          <p:cNvPr id="10" name="Rectangle 9"/>
          <p:cNvSpPr/>
          <p:nvPr/>
        </p:nvSpPr>
        <p:spPr>
          <a:xfrm>
            <a:off x="433838" y="2430926"/>
            <a:ext cx="3156890" cy="1077218"/>
          </a:xfrm>
          <a:prstGeom prst="rect">
            <a:avLst/>
          </a:prstGeom>
        </p:spPr>
        <p:txBody>
          <a:bodyPr wrap="none">
            <a:spAutoFit/>
          </a:bodyPr>
          <a:lstStyle/>
          <a:p>
            <a:r>
              <a:rPr lang="en-US" sz="4000" dirty="0" smtClean="0">
                <a:solidFill>
                  <a:schemeClr val="accent2">
                    <a:alpha val="99000"/>
                  </a:schemeClr>
                </a:solidFill>
                <a:latin typeface="Segoe UI Light" pitchFamily="34" charset="0"/>
              </a:rPr>
              <a:t>Step 2:</a:t>
            </a:r>
            <a:endParaRPr lang="en-US" sz="4000" dirty="0">
              <a:solidFill>
                <a:schemeClr val="accent2">
                  <a:alpha val="99000"/>
                </a:schemeClr>
              </a:solidFill>
              <a:latin typeface="Segoe UI Light" pitchFamily="34" charset="0"/>
            </a:endParaRPr>
          </a:p>
          <a:p>
            <a:r>
              <a:rPr lang="en-US" dirty="0" smtClean="0">
                <a:solidFill>
                  <a:schemeClr val="tx2">
                    <a:alpha val="99000"/>
                  </a:schemeClr>
                </a:solidFill>
                <a:latin typeface="Segoe UI Light" pitchFamily="34" charset="0"/>
              </a:rPr>
              <a:t>Make an API Controller</a:t>
            </a:r>
            <a:endParaRPr lang="en-US" dirty="0">
              <a:solidFill>
                <a:schemeClr val="tx2">
                  <a:alpha val="99000"/>
                </a:schemeClr>
              </a:solidFill>
              <a:latin typeface="Segoe UI Light" pitchFamily="34" charset="0"/>
            </a:endParaRPr>
          </a:p>
        </p:txBody>
      </p:sp>
    </p:spTree>
    <p:extLst>
      <p:ext uri="{BB962C8B-B14F-4D97-AF65-F5344CB8AC3E}">
        <p14:creationId xmlns:p14="http://schemas.microsoft.com/office/powerpoint/2010/main" val="4173126892"/>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bwMode="auto">
          <a:xfrm>
            <a:off x="-1" y="2547610"/>
            <a:ext cx="12188825" cy="1169551"/>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4" name="Rectangle 13"/>
          <p:cNvSpPr/>
          <p:nvPr/>
        </p:nvSpPr>
        <p:spPr bwMode="auto">
          <a:xfrm>
            <a:off x="0" y="1241466"/>
            <a:ext cx="12188825" cy="1166331"/>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 name="Title 2"/>
          <p:cNvSpPr>
            <a:spLocks noGrp="1"/>
          </p:cNvSpPr>
          <p:nvPr>
            <p:ph type="title"/>
          </p:nvPr>
        </p:nvSpPr>
        <p:spPr>
          <a:xfrm>
            <a:off x="519112" y="228600"/>
            <a:ext cx="11149013" cy="664797"/>
          </a:xfrm>
        </p:spPr>
        <p:txBody>
          <a:bodyPr/>
          <a:lstStyle/>
          <a:p>
            <a:r>
              <a:rPr lang="en-US" sz="4800" dirty="0" smtClean="0"/>
              <a:t>Read-only Controller Actions to return data</a:t>
            </a:r>
            <a:endParaRPr lang="en-US" sz="4800" dirty="0"/>
          </a:p>
        </p:txBody>
      </p:sp>
      <p:sp>
        <p:nvSpPr>
          <p:cNvPr id="5" name="TextBox 4"/>
          <p:cNvSpPr txBox="1"/>
          <p:nvPr/>
        </p:nvSpPr>
        <p:spPr>
          <a:xfrm>
            <a:off x="5130025" y="1238246"/>
            <a:ext cx="5901497" cy="1169551"/>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a:solidFill>
                  <a:schemeClr val="lt1">
                    <a:alpha val="99000"/>
                  </a:schemeClr>
                </a:solidFill>
                <a:latin typeface="Consolas" pitchFamily="49" charset="0"/>
                <a:cs typeface="Consolas" pitchFamily="49" charset="0"/>
              </a:rPr>
              <a:t>// GET /</a:t>
            </a:r>
            <a:r>
              <a:rPr lang="en-US" sz="1400" dirty="0" err="1">
                <a:solidFill>
                  <a:schemeClr val="lt1">
                    <a:alpha val="99000"/>
                  </a:schemeClr>
                </a:solidFill>
                <a:latin typeface="Consolas" pitchFamily="49" charset="0"/>
                <a:cs typeface="Consolas" pitchFamily="49" charset="0"/>
              </a:rPr>
              <a:t>api</a:t>
            </a:r>
            <a:r>
              <a:rPr lang="en-US" sz="1400" dirty="0">
                <a:solidFill>
                  <a:schemeClr val="lt1">
                    <a:alpha val="99000"/>
                  </a:schemeClr>
                </a:solidFill>
                <a:latin typeface="Consolas" pitchFamily="49" charset="0"/>
                <a:cs typeface="Consolas" pitchFamily="49" charset="0"/>
              </a:rPr>
              <a:t>/person</a:t>
            </a:r>
          </a:p>
          <a:p>
            <a:r>
              <a:rPr lang="en-US" sz="1400" dirty="0">
                <a:solidFill>
                  <a:schemeClr val="lt1">
                    <a:alpha val="99000"/>
                  </a:schemeClr>
                </a:solidFill>
                <a:latin typeface="Consolas" pitchFamily="49" charset="0"/>
                <a:cs typeface="Consolas" pitchFamily="49" charset="0"/>
              </a:rPr>
              <a:t>public </a:t>
            </a:r>
            <a:r>
              <a:rPr lang="en-US" sz="1400" dirty="0" err="1">
                <a:solidFill>
                  <a:schemeClr val="lt1">
                    <a:alpha val="99000"/>
                  </a:schemeClr>
                </a:solidFill>
                <a:latin typeface="Consolas" pitchFamily="49" charset="0"/>
                <a:cs typeface="Consolas" pitchFamily="49" charset="0"/>
              </a:rPr>
              <a:t>IEnumerable</a:t>
            </a:r>
            <a:r>
              <a:rPr lang="en-US" sz="1400" dirty="0">
                <a:solidFill>
                  <a:schemeClr val="lt1">
                    <a:alpha val="99000"/>
                  </a:schemeClr>
                </a:solidFill>
                <a:latin typeface="Consolas" pitchFamily="49" charset="0"/>
                <a:cs typeface="Consolas" pitchFamily="49" charset="0"/>
              </a:rPr>
              <a:t>&lt;</a:t>
            </a:r>
            <a:r>
              <a:rPr lang="en-US" sz="1400" dirty="0">
                <a:solidFill>
                  <a:schemeClr val="accent4">
                    <a:lumMod val="40000"/>
                    <a:lumOff val="60000"/>
                    <a:alpha val="99000"/>
                  </a:schemeClr>
                </a:solidFill>
                <a:latin typeface="Consolas" pitchFamily="49" charset="0"/>
                <a:cs typeface="Consolas" pitchFamily="49" charset="0"/>
              </a:rPr>
              <a:t>Person</a:t>
            </a:r>
            <a:r>
              <a:rPr lang="en-US" sz="1400" dirty="0">
                <a:solidFill>
                  <a:schemeClr val="lt1">
                    <a:alpha val="99000"/>
                  </a:schemeClr>
                </a:solidFill>
                <a:latin typeface="Consolas" pitchFamily="49" charset="0"/>
                <a:cs typeface="Consolas" pitchFamily="49" charset="0"/>
              </a:rPr>
              <a:t>&gt; Get()</a:t>
            </a:r>
          </a:p>
          <a:p>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return _people;</a:t>
            </a:r>
          </a:p>
          <a:p>
            <a:r>
              <a:rPr lang="en-US" sz="1400" dirty="0">
                <a:solidFill>
                  <a:schemeClr val="lt1">
                    <a:alpha val="99000"/>
                  </a:schemeClr>
                </a:solidFill>
                <a:latin typeface="Consolas" pitchFamily="49" charset="0"/>
                <a:cs typeface="Consolas" pitchFamily="49" charset="0"/>
              </a:rPr>
              <a:t>}</a:t>
            </a:r>
            <a:endParaRPr lang="en-US" sz="1400" dirty="0" smtClean="0">
              <a:solidFill>
                <a:schemeClr val="lt1">
                  <a:alpha val="99000"/>
                </a:schemeClr>
              </a:solidFill>
              <a:latin typeface="Consolas" pitchFamily="49" charset="0"/>
              <a:cs typeface="Consolas" pitchFamily="49" charset="0"/>
            </a:endParaRPr>
          </a:p>
        </p:txBody>
      </p:sp>
      <p:sp>
        <p:nvSpPr>
          <p:cNvPr id="8" name="Rectangle 7"/>
          <p:cNvSpPr/>
          <p:nvPr/>
        </p:nvSpPr>
        <p:spPr>
          <a:xfrm>
            <a:off x="433839" y="1241466"/>
            <a:ext cx="2485232" cy="1077218"/>
          </a:xfrm>
          <a:prstGeom prst="rect">
            <a:avLst/>
          </a:prstGeom>
        </p:spPr>
        <p:txBody>
          <a:bodyPr wrap="none">
            <a:spAutoFit/>
          </a:bodyPr>
          <a:lstStyle/>
          <a:p>
            <a:r>
              <a:rPr lang="en-US" sz="4000" dirty="0" smtClean="0">
                <a:solidFill>
                  <a:schemeClr val="accent2">
                    <a:alpha val="99000"/>
                  </a:schemeClr>
                </a:solidFill>
                <a:latin typeface="Segoe UI Light" pitchFamily="34" charset="0"/>
              </a:rPr>
              <a:t>Step 3:</a:t>
            </a:r>
            <a:endParaRPr lang="en-US" sz="4000" dirty="0">
              <a:solidFill>
                <a:schemeClr val="accent2">
                  <a:alpha val="99000"/>
                </a:schemeClr>
              </a:solidFill>
              <a:latin typeface="Segoe UI Light" pitchFamily="34" charset="0"/>
            </a:endParaRPr>
          </a:p>
          <a:p>
            <a:r>
              <a:rPr lang="en-US" dirty="0" smtClean="0">
                <a:solidFill>
                  <a:schemeClr val="tx2">
                    <a:alpha val="99000"/>
                  </a:schemeClr>
                </a:solidFill>
                <a:latin typeface="Segoe UI Light" pitchFamily="34" charset="0"/>
              </a:rPr>
              <a:t>Return everything</a:t>
            </a:r>
            <a:endParaRPr lang="en-US" dirty="0">
              <a:solidFill>
                <a:schemeClr val="tx2">
                  <a:alpha val="99000"/>
                </a:schemeClr>
              </a:solidFill>
              <a:latin typeface="Segoe UI Light" pitchFamily="34" charset="0"/>
            </a:endParaRPr>
          </a:p>
        </p:txBody>
      </p:sp>
      <p:sp>
        <p:nvSpPr>
          <p:cNvPr id="9" name="TextBox 8"/>
          <p:cNvSpPr txBox="1"/>
          <p:nvPr/>
        </p:nvSpPr>
        <p:spPr>
          <a:xfrm>
            <a:off x="5130023" y="2547610"/>
            <a:ext cx="5901499" cy="1169551"/>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a:solidFill>
                  <a:schemeClr val="lt1">
                    <a:alpha val="99000"/>
                  </a:schemeClr>
                </a:solidFill>
                <a:latin typeface="Consolas" pitchFamily="49" charset="0"/>
                <a:cs typeface="Consolas" pitchFamily="49" charset="0"/>
              </a:rPr>
              <a:t>// GET /</a:t>
            </a:r>
            <a:r>
              <a:rPr lang="en-US" sz="1400" dirty="0" err="1">
                <a:solidFill>
                  <a:schemeClr val="lt1">
                    <a:alpha val="99000"/>
                  </a:schemeClr>
                </a:solidFill>
                <a:latin typeface="Consolas" pitchFamily="49" charset="0"/>
                <a:cs typeface="Consolas" pitchFamily="49" charset="0"/>
              </a:rPr>
              <a:t>api</a:t>
            </a:r>
            <a:r>
              <a:rPr lang="en-US" sz="1400" dirty="0">
                <a:solidFill>
                  <a:schemeClr val="lt1">
                    <a:alpha val="99000"/>
                  </a:schemeClr>
                </a:solidFill>
                <a:latin typeface="Consolas" pitchFamily="49" charset="0"/>
                <a:cs typeface="Consolas" pitchFamily="49" charset="0"/>
              </a:rPr>
              <a:t>/person/5</a:t>
            </a:r>
          </a:p>
          <a:p>
            <a:r>
              <a:rPr lang="en-US" sz="1400" dirty="0">
                <a:solidFill>
                  <a:schemeClr val="lt1">
                    <a:alpha val="99000"/>
                  </a:schemeClr>
                </a:solidFill>
                <a:latin typeface="Consolas" pitchFamily="49" charset="0"/>
                <a:cs typeface="Consolas" pitchFamily="49" charset="0"/>
              </a:rPr>
              <a:t>public </a:t>
            </a:r>
            <a:r>
              <a:rPr lang="en-US" sz="1400" dirty="0" smtClean="0">
                <a:solidFill>
                  <a:schemeClr val="accent4">
                    <a:lumMod val="40000"/>
                    <a:lumOff val="60000"/>
                    <a:alpha val="99000"/>
                  </a:schemeClr>
                </a:solidFill>
                <a:latin typeface="Consolas" pitchFamily="49" charset="0"/>
                <a:cs typeface="Consolas" pitchFamily="49" charset="0"/>
              </a:rPr>
              <a:t>Person</a:t>
            </a:r>
            <a:r>
              <a:rPr lang="en-US" sz="1400" dirty="0" smtClean="0">
                <a:solidFill>
                  <a:schemeClr val="lt1">
                    <a:alpha val="99000"/>
                  </a:schemeClr>
                </a:solidFill>
                <a:latin typeface="Consolas" pitchFamily="49" charset="0"/>
                <a:cs typeface="Consolas" pitchFamily="49" charset="0"/>
              </a:rPr>
              <a:t> Get(</a:t>
            </a:r>
            <a:r>
              <a:rPr lang="en-US" sz="1400" dirty="0" err="1" smtClean="0">
                <a:solidFill>
                  <a:schemeClr val="lt1">
                    <a:alpha val="99000"/>
                  </a:schemeClr>
                </a:solidFill>
                <a:latin typeface="Consolas" pitchFamily="49" charset="0"/>
                <a:cs typeface="Consolas" pitchFamily="49" charset="0"/>
              </a:rPr>
              <a:t>int</a:t>
            </a:r>
            <a:r>
              <a:rPr lang="en-US" sz="1400" dirty="0" smtClean="0">
                <a:solidFill>
                  <a:schemeClr val="lt1">
                    <a:alpha val="99000"/>
                  </a:schemeClr>
                </a:solidFill>
                <a:latin typeface="Consolas" pitchFamily="49" charset="0"/>
                <a:cs typeface="Consolas" pitchFamily="49" charset="0"/>
              </a:rPr>
              <a:t> </a:t>
            </a:r>
            <a:r>
              <a:rPr lang="en-US" sz="1400" dirty="0">
                <a:solidFill>
                  <a:schemeClr val="lt1">
                    <a:alpha val="99000"/>
                  </a:schemeClr>
                </a:solidFill>
                <a:latin typeface="Consolas" pitchFamily="49" charset="0"/>
                <a:cs typeface="Consolas" pitchFamily="49" charset="0"/>
              </a:rPr>
              <a:t>id)</a:t>
            </a:r>
          </a:p>
          <a:p>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return _</a:t>
            </a:r>
            <a:r>
              <a:rPr lang="en-US" sz="1400" dirty="0" err="1">
                <a:solidFill>
                  <a:schemeClr val="lt1">
                    <a:alpha val="99000"/>
                  </a:schemeClr>
                </a:solidFill>
                <a:latin typeface="Consolas" pitchFamily="49" charset="0"/>
                <a:cs typeface="Consolas" pitchFamily="49" charset="0"/>
              </a:rPr>
              <a:t>people.First</a:t>
            </a:r>
            <a:r>
              <a:rPr lang="en-US" sz="1400" dirty="0">
                <a:solidFill>
                  <a:schemeClr val="lt1">
                    <a:alpha val="99000"/>
                  </a:schemeClr>
                </a:solidFill>
                <a:latin typeface="Consolas" pitchFamily="49" charset="0"/>
                <a:cs typeface="Consolas" pitchFamily="49" charset="0"/>
              </a:rPr>
              <a:t>(x =&gt; </a:t>
            </a:r>
            <a:r>
              <a:rPr lang="en-US" sz="1400" dirty="0" err="1">
                <a:solidFill>
                  <a:schemeClr val="lt1">
                    <a:alpha val="99000"/>
                  </a:schemeClr>
                </a:solidFill>
                <a:latin typeface="Consolas" pitchFamily="49" charset="0"/>
                <a:cs typeface="Consolas" pitchFamily="49" charset="0"/>
              </a:rPr>
              <a:t>x.Id</a:t>
            </a:r>
            <a:r>
              <a:rPr lang="en-US" sz="1400" dirty="0">
                <a:solidFill>
                  <a:schemeClr val="lt1">
                    <a:alpha val="99000"/>
                  </a:schemeClr>
                </a:solidFill>
                <a:latin typeface="Consolas" pitchFamily="49" charset="0"/>
                <a:cs typeface="Consolas" pitchFamily="49" charset="0"/>
              </a:rPr>
              <a:t> == id);</a:t>
            </a:r>
          </a:p>
          <a:p>
            <a:r>
              <a:rPr lang="en-US" sz="1400" dirty="0">
                <a:solidFill>
                  <a:schemeClr val="lt1">
                    <a:alpha val="99000"/>
                  </a:schemeClr>
                </a:solidFill>
                <a:latin typeface="Consolas" pitchFamily="49" charset="0"/>
                <a:cs typeface="Consolas" pitchFamily="49" charset="0"/>
              </a:rPr>
              <a:t>}</a:t>
            </a:r>
            <a:endParaRPr lang="en-US" sz="1400" dirty="0" smtClean="0">
              <a:solidFill>
                <a:schemeClr val="lt1">
                  <a:alpha val="99000"/>
                </a:schemeClr>
              </a:solidFill>
              <a:latin typeface="Consolas" pitchFamily="49" charset="0"/>
              <a:cs typeface="Consolas" pitchFamily="49" charset="0"/>
            </a:endParaRPr>
          </a:p>
        </p:txBody>
      </p:sp>
      <p:sp>
        <p:nvSpPr>
          <p:cNvPr id="10" name="Rectangle 9"/>
          <p:cNvSpPr/>
          <p:nvPr/>
        </p:nvSpPr>
        <p:spPr>
          <a:xfrm>
            <a:off x="433838" y="2547610"/>
            <a:ext cx="2259658" cy="1077218"/>
          </a:xfrm>
          <a:prstGeom prst="rect">
            <a:avLst/>
          </a:prstGeom>
        </p:spPr>
        <p:txBody>
          <a:bodyPr wrap="none">
            <a:spAutoFit/>
          </a:bodyPr>
          <a:lstStyle/>
          <a:p>
            <a:r>
              <a:rPr lang="en-US" sz="4000" dirty="0" smtClean="0">
                <a:solidFill>
                  <a:schemeClr val="accent2">
                    <a:alpha val="99000"/>
                  </a:schemeClr>
                </a:solidFill>
                <a:latin typeface="Segoe UI Light" pitchFamily="34" charset="0"/>
              </a:rPr>
              <a:t>Step 4:</a:t>
            </a:r>
            <a:endParaRPr lang="en-US" sz="4000" dirty="0">
              <a:solidFill>
                <a:schemeClr val="accent2">
                  <a:alpha val="99000"/>
                </a:schemeClr>
              </a:solidFill>
              <a:latin typeface="Segoe UI Light" pitchFamily="34" charset="0"/>
            </a:endParaRPr>
          </a:p>
          <a:p>
            <a:r>
              <a:rPr lang="en-US" dirty="0" smtClean="0">
                <a:solidFill>
                  <a:schemeClr val="tx2">
                    <a:alpha val="99000"/>
                  </a:schemeClr>
                </a:solidFill>
                <a:latin typeface="Segoe UI Light" pitchFamily="34" charset="0"/>
              </a:rPr>
              <a:t>Return one item</a:t>
            </a:r>
            <a:endParaRPr lang="en-US" dirty="0">
              <a:solidFill>
                <a:schemeClr val="tx2">
                  <a:alpha val="99000"/>
                </a:schemeClr>
              </a:solidFill>
              <a:latin typeface="Segoe UI Light" pitchFamily="34" charset="0"/>
            </a:endParaRPr>
          </a:p>
        </p:txBody>
      </p:sp>
    </p:spTree>
    <p:extLst>
      <p:ext uri="{BB962C8B-B14F-4D97-AF65-F5344CB8AC3E}">
        <p14:creationId xmlns:p14="http://schemas.microsoft.com/office/powerpoint/2010/main" val="3708377492"/>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nvSpPr>
        <p:spPr bwMode="auto">
          <a:xfrm>
            <a:off x="0" y="1397332"/>
            <a:ext cx="12188825" cy="181266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 name="Title 2"/>
          <p:cNvSpPr>
            <a:spLocks noGrp="1"/>
          </p:cNvSpPr>
          <p:nvPr>
            <p:ph type="title"/>
          </p:nvPr>
        </p:nvSpPr>
        <p:spPr>
          <a:xfrm>
            <a:off x="519112" y="228600"/>
            <a:ext cx="11149013" cy="664797"/>
          </a:xfrm>
        </p:spPr>
        <p:txBody>
          <a:bodyPr/>
          <a:lstStyle/>
          <a:p>
            <a:r>
              <a:rPr lang="en-US" sz="4800" dirty="0" smtClean="0"/>
              <a:t>Routing a Web API Using </a:t>
            </a:r>
            <a:r>
              <a:rPr lang="en-US" sz="4800" dirty="0" err="1" smtClean="0"/>
              <a:t>Global.asax.cs</a:t>
            </a:r>
            <a:endParaRPr lang="en-US" sz="4800" dirty="0"/>
          </a:p>
        </p:txBody>
      </p:sp>
      <p:sp>
        <p:nvSpPr>
          <p:cNvPr id="5" name="TextBox 4"/>
          <p:cNvSpPr txBox="1"/>
          <p:nvPr/>
        </p:nvSpPr>
        <p:spPr>
          <a:xfrm>
            <a:off x="5130025" y="1394111"/>
            <a:ext cx="6211891" cy="1815882"/>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a:solidFill>
                  <a:schemeClr val="lt1">
                    <a:alpha val="99000"/>
                  </a:schemeClr>
                </a:solidFill>
                <a:latin typeface="Consolas" pitchFamily="49" charset="0"/>
                <a:cs typeface="Consolas" pitchFamily="49" charset="0"/>
              </a:rPr>
              <a:t>public static void </a:t>
            </a:r>
            <a:r>
              <a:rPr lang="en-US" sz="1400" dirty="0" err="1">
                <a:solidFill>
                  <a:schemeClr val="lt1">
                    <a:alpha val="99000"/>
                  </a:schemeClr>
                </a:solidFill>
                <a:latin typeface="Consolas" pitchFamily="49" charset="0"/>
                <a:cs typeface="Consolas" pitchFamily="49" charset="0"/>
              </a:rPr>
              <a:t>RegisterRoutes</a:t>
            </a:r>
            <a:r>
              <a:rPr lang="en-US" sz="1400" dirty="0">
                <a:solidFill>
                  <a:schemeClr val="lt1">
                    <a:alpha val="99000"/>
                  </a:schemeClr>
                </a:solidFill>
                <a:latin typeface="Consolas" pitchFamily="49" charset="0"/>
                <a:cs typeface="Consolas" pitchFamily="49" charset="0"/>
              </a:rPr>
              <a:t>(</a:t>
            </a:r>
            <a:r>
              <a:rPr lang="en-US" sz="1400" dirty="0" err="1">
                <a:solidFill>
                  <a:schemeClr val="lt1">
                    <a:alpha val="99000"/>
                  </a:schemeClr>
                </a:solidFill>
                <a:latin typeface="Consolas" pitchFamily="49" charset="0"/>
                <a:cs typeface="Consolas" pitchFamily="49" charset="0"/>
              </a:rPr>
              <a:t>RouteCollection</a:t>
            </a:r>
            <a:r>
              <a:rPr lang="en-US" sz="1400" dirty="0">
                <a:solidFill>
                  <a:schemeClr val="lt1">
                    <a:alpha val="99000"/>
                  </a:schemeClr>
                </a:solidFill>
                <a:latin typeface="Consolas" pitchFamily="49" charset="0"/>
                <a:cs typeface="Consolas" pitchFamily="49" charset="0"/>
              </a:rPr>
              <a:t> routes)</a:t>
            </a:r>
          </a:p>
          <a:p>
            <a:r>
              <a:rPr lang="en-US" sz="1400" dirty="0" smtClean="0">
                <a:solidFill>
                  <a:schemeClr val="lt1">
                    <a:alpha val="99000"/>
                  </a:schemeClr>
                </a:solidFill>
                <a:latin typeface="Consolas" pitchFamily="49" charset="0"/>
                <a:cs typeface="Consolas" pitchFamily="49" charset="0"/>
              </a:rPr>
              <a:t>{    </a:t>
            </a:r>
          </a:p>
          <a:p>
            <a:r>
              <a:rPr lang="en-US" sz="1400" dirty="0" smtClean="0">
                <a:solidFill>
                  <a:schemeClr val="lt1">
                    <a:alpha val="99000"/>
                  </a:schemeClr>
                </a:solidFill>
                <a:latin typeface="Consolas" pitchFamily="49" charset="0"/>
                <a:cs typeface="Consolas" pitchFamily="49" charset="0"/>
              </a:rPr>
              <a:t>    </a:t>
            </a:r>
            <a:r>
              <a:rPr lang="en-US" sz="1400" dirty="0" err="1" smtClean="0">
                <a:solidFill>
                  <a:schemeClr val="lt1">
                    <a:alpha val="99000"/>
                  </a:schemeClr>
                </a:solidFill>
                <a:latin typeface="Consolas" pitchFamily="49" charset="0"/>
                <a:cs typeface="Consolas" pitchFamily="49" charset="0"/>
              </a:rPr>
              <a:t>routes.MapHttpRoute</a:t>
            </a:r>
            <a:r>
              <a:rPr lang="en-US" sz="1400" dirty="0" smtClean="0">
                <a:solidFill>
                  <a:schemeClr val="lt1">
                    <a:alpha val="99000"/>
                  </a:schemeClr>
                </a:solidFill>
                <a:latin typeface="Consolas" pitchFamily="49" charset="0"/>
                <a:cs typeface="Consolas" pitchFamily="49" charset="0"/>
              </a:rPr>
              <a:t>(</a:t>
            </a:r>
          </a:p>
          <a:p>
            <a:r>
              <a:rPr lang="en-US" sz="1400" dirty="0" smtClean="0">
                <a:solidFill>
                  <a:schemeClr val="lt1">
                    <a:alpha val="99000"/>
                  </a:schemeClr>
                </a:solidFill>
                <a:latin typeface="Consolas" pitchFamily="49" charset="0"/>
                <a:cs typeface="Consolas" pitchFamily="49" charset="0"/>
              </a:rPr>
              <a:t>        </a:t>
            </a:r>
            <a:r>
              <a:rPr lang="en-US" sz="1400" dirty="0">
                <a:solidFill>
                  <a:schemeClr val="lt1">
                    <a:alpha val="99000"/>
                  </a:schemeClr>
                </a:solidFill>
                <a:latin typeface="Consolas" pitchFamily="49" charset="0"/>
                <a:cs typeface="Consolas" pitchFamily="49" charset="0"/>
              </a:rPr>
              <a:t>name: "</a:t>
            </a:r>
            <a:r>
              <a:rPr lang="en-US" sz="1400" dirty="0" err="1">
                <a:solidFill>
                  <a:schemeClr val="lt1">
                    <a:alpha val="99000"/>
                  </a:schemeClr>
                </a:solidFill>
                <a:latin typeface="Consolas" pitchFamily="49" charset="0"/>
                <a:cs typeface="Consolas" pitchFamily="49" charset="0"/>
              </a:rPr>
              <a:t>DefaultApi</a:t>
            </a:r>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a:t>
            </a:r>
            <a:r>
              <a:rPr lang="en-US" sz="1400" dirty="0" err="1">
                <a:solidFill>
                  <a:schemeClr val="lt1">
                    <a:alpha val="99000"/>
                  </a:schemeClr>
                </a:solidFill>
                <a:latin typeface="Consolas" pitchFamily="49" charset="0"/>
                <a:cs typeface="Consolas" pitchFamily="49" charset="0"/>
              </a:rPr>
              <a:t>routeTemplate</a:t>
            </a:r>
            <a:r>
              <a:rPr lang="en-US" sz="1400" dirty="0">
                <a:solidFill>
                  <a:schemeClr val="lt1">
                    <a:alpha val="99000"/>
                  </a:schemeClr>
                </a:solidFill>
                <a:latin typeface="Consolas" pitchFamily="49" charset="0"/>
                <a:cs typeface="Consolas" pitchFamily="49" charset="0"/>
              </a:rPr>
              <a:t>: "</a:t>
            </a:r>
            <a:r>
              <a:rPr lang="en-US" sz="1400" dirty="0" err="1">
                <a:solidFill>
                  <a:schemeClr val="accent4">
                    <a:lumMod val="60000"/>
                    <a:lumOff val="40000"/>
                    <a:alpha val="99000"/>
                  </a:schemeClr>
                </a:solidFill>
                <a:latin typeface="Consolas" pitchFamily="49" charset="0"/>
                <a:cs typeface="Consolas" pitchFamily="49" charset="0"/>
              </a:rPr>
              <a:t>api</a:t>
            </a:r>
            <a:r>
              <a:rPr lang="en-US" sz="1400" dirty="0">
                <a:solidFill>
                  <a:schemeClr val="accent4">
                    <a:lumMod val="60000"/>
                    <a:lumOff val="40000"/>
                    <a:alpha val="99000"/>
                  </a:schemeClr>
                </a:solidFill>
                <a:latin typeface="Consolas" pitchFamily="49" charset="0"/>
                <a:cs typeface="Consolas" pitchFamily="49" charset="0"/>
              </a:rPr>
              <a:t>/{controller}/{id}</a:t>
            </a:r>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defaults: new { id = </a:t>
            </a:r>
            <a:r>
              <a:rPr lang="en-US" sz="1400" dirty="0" err="1">
                <a:solidFill>
                  <a:schemeClr val="lt1">
                    <a:alpha val="99000"/>
                  </a:schemeClr>
                </a:solidFill>
                <a:latin typeface="Consolas" pitchFamily="49" charset="0"/>
                <a:cs typeface="Consolas" pitchFamily="49" charset="0"/>
              </a:rPr>
              <a:t>RouteParameter.Optional</a:t>
            </a:r>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a:t>
            </a:r>
            <a:endParaRPr lang="en-US" sz="1400" dirty="0" smtClean="0">
              <a:solidFill>
                <a:schemeClr val="lt1">
                  <a:alpha val="99000"/>
                </a:schemeClr>
              </a:solidFill>
              <a:latin typeface="Consolas" pitchFamily="49" charset="0"/>
              <a:cs typeface="Consolas" pitchFamily="49" charset="0"/>
            </a:endParaRPr>
          </a:p>
        </p:txBody>
      </p:sp>
      <p:sp>
        <p:nvSpPr>
          <p:cNvPr id="8" name="Rectangle 7"/>
          <p:cNvSpPr/>
          <p:nvPr/>
        </p:nvSpPr>
        <p:spPr>
          <a:xfrm>
            <a:off x="433839" y="1397331"/>
            <a:ext cx="3131242" cy="1446550"/>
          </a:xfrm>
          <a:prstGeom prst="rect">
            <a:avLst/>
          </a:prstGeom>
        </p:spPr>
        <p:txBody>
          <a:bodyPr wrap="none">
            <a:spAutoFit/>
          </a:bodyPr>
          <a:lstStyle/>
          <a:p>
            <a:r>
              <a:rPr lang="en-US" sz="4000" dirty="0" smtClean="0">
                <a:solidFill>
                  <a:schemeClr val="accent2">
                    <a:alpha val="99000"/>
                  </a:schemeClr>
                </a:solidFill>
                <a:latin typeface="Segoe UI Light" pitchFamily="34" charset="0"/>
              </a:rPr>
              <a:t>Routing:</a:t>
            </a:r>
            <a:endParaRPr lang="en-US" sz="4000" dirty="0">
              <a:solidFill>
                <a:schemeClr val="accent2">
                  <a:alpha val="99000"/>
                </a:schemeClr>
              </a:solidFill>
              <a:latin typeface="Segoe UI Light" pitchFamily="34" charset="0"/>
            </a:endParaRPr>
          </a:p>
          <a:p>
            <a:r>
              <a:rPr lang="en-US" dirty="0" smtClean="0">
                <a:solidFill>
                  <a:schemeClr val="tx2">
                    <a:alpha val="99000"/>
                  </a:schemeClr>
                </a:solidFill>
                <a:latin typeface="Segoe UI Light" pitchFamily="34" charset="0"/>
              </a:rPr>
              <a:t>Familiar syntax, </a:t>
            </a:r>
            <a:br>
              <a:rPr lang="en-US" dirty="0" smtClean="0">
                <a:solidFill>
                  <a:schemeClr val="tx2">
                    <a:alpha val="99000"/>
                  </a:schemeClr>
                </a:solidFill>
                <a:latin typeface="Segoe UI Light" pitchFamily="34" charset="0"/>
              </a:rPr>
            </a:br>
            <a:r>
              <a:rPr lang="en-US" dirty="0" smtClean="0">
                <a:solidFill>
                  <a:schemeClr val="tx2">
                    <a:alpha val="99000"/>
                  </a:schemeClr>
                </a:solidFill>
                <a:latin typeface="Segoe UI Light" pitchFamily="34" charset="0"/>
              </a:rPr>
              <a:t>conventional approach</a:t>
            </a:r>
            <a:endParaRPr lang="en-US" dirty="0">
              <a:solidFill>
                <a:schemeClr val="tx2">
                  <a:alpha val="99000"/>
                </a:schemeClr>
              </a:solidFill>
              <a:latin typeface="Segoe UI Light" pitchFamily="34" charset="0"/>
            </a:endParaRPr>
          </a:p>
        </p:txBody>
      </p:sp>
      <p:pic>
        <p:nvPicPr>
          <p:cNvPr id="64520" name="Picture 8" descr="C:\Users\bradyg\AppData\Local\Temp\SNAGHTML48d144.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168181" y="3938155"/>
            <a:ext cx="8402335" cy="1483448"/>
          </a:xfrm>
          <a:prstGeom prst="rect">
            <a:avLst/>
          </a:prstGeom>
          <a:noFill/>
          <a:extLst>
            <a:ext uri="{909E8E84-426E-40DD-AFC4-6F175D3DCCD1}">
              <a14:hiddenFill xmlns:a14="http://schemas.microsoft.com/office/drawing/2010/main">
                <a:solidFill>
                  <a:srgbClr val="FFFFFF"/>
                </a:solidFill>
              </a14:hiddenFill>
            </a:ext>
          </a:extLst>
        </p:spPr>
      </p:pic>
      <p:cxnSp>
        <p:nvCxnSpPr>
          <p:cNvPr id="7" name="Straight Arrow Connector 6"/>
          <p:cNvCxnSpPr/>
          <p:nvPr/>
        </p:nvCxnSpPr>
        <p:spPr>
          <a:xfrm flipH="1">
            <a:off x="5922818" y="2545773"/>
            <a:ext cx="1776846" cy="1766454"/>
          </a:xfrm>
          <a:prstGeom prst="straightConnector1">
            <a:avLst/>
          </a:prstGeom>
          <a:ln>
            <a:tailEnd type="arrow"/>
          </a:ln>
        </p:spPr>
        <p:style>
          <a:lnRef idx="2">
            <a:schemeClr val="accent5"/>
          </a:lnRef>
          <a:fillRef idx="0">
            <a:schemeClr val="accent5"/>
          </a:fillRef>
          <a:effectRef idx="1">
            <a:schemeClr val="accent5"/>
          </a:effectRef>
          <a:fontRef idx="minor">
            <a:schemeClr val="tx1"/>
          </a:fontRef>
        </p:style>
      </p:cxnSp>
      <p:cxnSp>
        <p:nvCxnSpPr>
          <p:cNvPr id="22" name="Straight Arrow Connector 21"/>
          <p:cNvCxnSpPr/>
          <p:nvPr/>
        </p:nvCxnSpPr>
        <p:spPr>
          <a:xfrm flipH="1">
            <a:off x="6338455" y="2545773"/>
            <a:ext cx="2036619" cy="1766454"/>
          </a:xfrm>
          <a:prstGeom prst="straightConnector1">
            <a:avLst/>
          </a:prstGeom>
          <a:ln>
            <a:tailEnd type="arrow"/>
          </a:ln>
        </p:spPr>
        <p:style>
          <a:lnRef idx="2">
            <a:schemeClr val="accent5"/>
          </a:lnRef>
          <a:fillRef idx="0">
            <a:schemeClr val="accent5"/>
          </a:fillRef>
          <a:effectRef idx="1">
            <a:schemeClr val="accent5"/>
          </a:effectRef>
          <a:fontRef idx="minor">
            <a:schemeClr val="tx1"/>
          </a:fontRef>
        </p:style>
      </p:cxnSp>
      <p:cxnSp>
        <p:nvCxnSpPr>
          <p:cNvPr id="25" name="Straight Arrow Connector 24"/>
          <p:cNvCxnSpPr/>
          <p:nvPr/>
        </p:nvCxnSpPr>
        <p:spPr>
          <a:xfrm flipH="1">
            <a:off x="6577445" y="2545773"/>
            <a:ext cx="2878284" cy="1859972"/>
          </a:xfrm>
          <a:prstGeom prst="straightConnector1">
            <a:avLst/>
          </a:prstGeom>
          <a:ln>
            <a:tailEnd type="arrow"/>
          </a:ln>
        </p:spPr>
        <p:style>
          <a:lnRef idx="2">
            <a:schemeClr val="accent5"/>
          </a:lnRef>
          <a:fillRef idx="0">
            <a:schemeClr val="accent5"/>
          </a:fillRef>
          <a:effectRef idx="1">
            <a:schemeClr val="accent5"/>
          </a:effectRef>
          <a:fontRef idx="minor">
            <a:schemeClr val="tx1"/>
          </a:fontRef>
        </p:style>
      </p:cxnSp>
    </p:spTree>
    <p:extLst>
      <p:ext uri="{BB962C8B-B14F-4D97-AF65-F5344CB8AC3E}">
        <p14:creationId xmlns:p14="http://schemas.microsoft.com/office/powerpoint/2010/main" val="11435893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2"/>
                                        </p:tgtEl>
                                        <p:attrNameLst>
                                          <p:attrName>style.visibility</p:attrName>
                                        </p:attrNameLst>
                                      </p:cBhvr>
                                      <p:to>
                                        <p:strVal val="visible"/>
                                      </p:to>
                                    </p:set>
                                    <p:animEffect transition="in" filter="fade">
                                      <p:cBhvr>
                                        <p:cTn id="12" dur="500"/>
                                        <p:tgtEl>
                                          <p:spTgt spid="22"/>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25"/>
                                        </p:tgtEl>
                                        <p:attrNameLst>
                                          <p:attrName>style.visibility</p:attrName>
                                        </p:attrNameLst>
                                      </p:cBhvr>
                                      <p:to>
                                        <p:strVal val="visible"/>
                                      </p:to>
                                    </p:set>
                                    <p:animEffect transition="in" filter="fade">
                                      <p:cBhvr>
                                        <p:cTn id="17"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2044973579"/>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4907"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Manipulating HTTP Responses</a:t>
            </a:r>
            <a:endParaRPr lang="en-US" dirty="0"/>
          </a:p>
        </p:txBody>
      </p:sp>
      <p:grpSp>
        <p:nvGrpSpPr>
          <p:cNvPr id="10" name="Group 9"/>
          <p:cNvGrpSpPr/>
          <p:nvPr/>
        </p:nvGrpSpPr>
        <p:grpSpPr bwMode="black">
          <a:xfrm>
            <a:off x="8300852" y="3844878"/>
            <a:ext cx="3266809" cy="2657692"/>
            <a:chOff x="5184775" y="225425"/>
            <a:chExt cx="1500188" cy="1220788"/>
          </a:xfrm>
          <a:solidFill>
            <a:schemeClr val="tx1">
              <a:lumMod val="10000"/>
              <a:lumOff val="90000"/>
            </a:schemeClr>
          </a:solidFill>
        </p:grpSpPr>
        <p:sp>
          <p:nvSpPr>
            <p:cNvPr id="11"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2"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3"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grpSp>
      <p:sp>
        <p:nvSpPr>
          <p:cNvPr id="9" name="Rectangle 8"/>
          <p:cNvSpPr/>
          <p:nvPr/>
        </p:nvSpPr>
        <p:spPr bwMode="auto">
          <a:xfrm>
            <a:off x="-1" y="2118999"/>
            <a:ext cx="12188825" cy="3967098"/>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4" name="TextBox 13"/>
          <p:cNvSpPr txBox="1"/>
          <p:nvPr/>
        </p:nvSpPr>
        <p:spPr>
          <a:xfrm>
            <a:off x="4372898" y="2115779"/>
            <a:ext cx="7384894" cy="3754874"/>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a:solidFill>
                  <a:schemeClr val="lt1">
                    <a:alpha val="99000"/>
                  </a:schemeClr>
                </a:solidFill>
                <a:latin typeface="Consolas" pitchFamily="49" charset="0"/>
                <a:cs typeface="Consolas" pitchFamily="49" charset="0"/>
              </a:rPr>
              <a:t>// GET /</a:t>
            </a:r>
            <a:r>
              <a:rPr lang="en-US" sz="1400" dirty="0" err="1">
                <a:solidFill>
                  <a:schemeClr val="lt1">
                    <a:alpha val="99000"/>
                  </a:schemeClr>
                </a:solidFill>
                <a:latin typeface="Consolas" pitchFamily="49" charset="0"/>
                <a:cs typeface="Consolas" pitchFamily="49" charset="0"/>
              </a:rPr>
              <a:t>api</a:t>
            </a:r>
            <a:r>
              <a:rPr lang="en-US" sz="1400" dirty="0">
                <a:solidFill>
                  <a:schemeClr val="lt1">
                    <a:alpha val="99000"/>
                  </a:schemeClr>
                </a:solidFill>
                <a:latin typeface="Consolas" pitchFamily="49" charset="0"/>
                <a:cs typeface="Consolas" pitchFamily="49" charset="0"/>
              </a:rPr>
              <a:t>/person/5</a:t>
            </a:r>
          </a:p>
          <a:p>
            <a:r>
              <a:rPr lang="en-US" sz="1400" dirty="0">
                <a:solidFill>
                  <a:schemeClr val="lt1">
                    <a:alpha val="99000"/>
                  </a:schemeClr>
                </a:solidFill>
                <a:latin typeface="Consolas" pitchFamily="49" charset="0"/>
                <a:cs typeface="Consolas" pitchFamily="49" charset="0"/>
              </a:rPr>
              <a:t>public </a:t>
            </a:r>
            <a:r>
              <a:rPr lang="en-US" sz="1400" dirty="0" err="1">
                <a:solidFill>
                  <a:schemeClr val="accent4">
                    <a:lumMod val="60000"/>
                    <a:lumOff val="40000"/>
                    <a:alpha val="99000"/>
                  </a:schemeClr>
                </a:solidFill>
                <a:latin typeface="Consolas" pitchFamily="49" charset="0"/>
                <a:cs typeface="Consolas" pitchFamily="49" charset="0"/>
              </a:rPr>
              <a:t>HttpResponseMessage</a:t>
            </a:r>
            <a:r>
              <a:rPr lang="en-US" sz="1400" dirty="0">
                <a:solidFill>
                  <a:schemeClr val="bg1">
                    <a:alpha val="99000"/>
                  </a:schemeClr>
                </a:solidFill>
                <a:latin typeface="Consolas" pitchFamily="49" charset="0"/>
                <a:cs typeface="Consolas" pitchFamily="49" charset="0"/>
              </a:rPr>
              <a:t>&lt;Person&gt;</a:t>
            </a:r>
            <a:r>
              <a:rPr lang="en-US" sz="1400" dirty="0">
                <a:solidFill>
                  <a:schemeClr val="lt1">
                    <a:alpha val="99000"/>
                  </a:schemeClr>
                </a:solidFill>
                <a:latin typeface="Consolas" pitchFamily="49" charset="0"/>
                <a:cs typeface="Consolas" pitchFamily="49" charset="0"/>
              </a:rPr>
              <a:t> Get(</a:t>
            </a:r>
            <a:r>
              <a:rPr lang="en-US" sz="1400" dirty="0" err="1">
                <a:solidFill>
                  <a:schemeClr val="lt1">
                    <a:alpha val="99000"/>
                  </a:schemeClr>
                </a:solidFill>
                <a:latin typeface="Consolas" pitchFamily="49" charset="0"/>
                <a:cs typeface="Consolas" pitchFamily="49" charset="0"/>
              </a:rPr>
              <a:t>int</a:t>
            </a:r>
            <a:r>
              <a:rPr lang="en-US" sz="1400" dirty="0">
                <a:solidFill>
                  <a:schemeClr val="lt1">
                    <a:alpha val="99000"/>
                  </a:schemeClr>
                </a:solidFill>
                <a:latin typeface="Consolas" pitchFamily="49" charset="0"/>
                <a:cs typeface="Consolas" pitchFamily="49" charset="0"/>
              </a:rPr>
              <a:t> id)</a:t>
            </a:r>
          </a:p>
          <a:p>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try</a:t>
            </a:r>
          </a:p>
          <a:p>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        </a:t>
            </a:r>
            <a:r>
              <a:rPr lang="en-US" sz="1400" dirty="0" err="1">
                <a:solidFill>
                  <a:schemeClr val="lt1">
                    <a:alpha val="99000"/>
                  </a:schemeClr>
                </a:solidFill>
                <a:latin typeface="Consolas" pitchFamily="49" charset="0"/>
                <a:cs typeface="Consolas" pitchFamily="49" charset="0"/>
              </a:rPr>
              <a:t>var</a:t>
            </a:r>
            <a:r>
              <a:rPr lang="en-US" sz="1400" dirty="0">
                <a:solidFill>
                  <a:schemeClr val="lt1">
                    <a:alpha val="99000"/>
                  </a:schemeClr>
                </a:solidFill>
                <a:latin typeface="Consolas" pitchFamily="49" charset="0"/>
                <a:cs typeface="Consolas" pitchFamily="49" charset="0"/>
              </a:rPr>
              <a:t> person = _</a:t>
            </a:r>
            <a:r>
              <a:rPr lang="en-US" sz="1400" dirty="0" err="1">
                <a:solidFill>
                  <a:schemeClr val="lt1">
                    <a:alpha val="99000"/>
                  </a:schemeClr>
                </a:solidFill>
                <a:latin typeface="Consolas" pitchFamily="49" charset="0"/>
                <a:cs typeface="Consolas" pitchFamily="49" charset="0"/>
              </a:rPr>
              <a:t>people.First</a:t>
            </a:r>
            <a:r>
              <a:rPr lang="en-US" sz="1400" dirty="0">
                <a:solidFill>
                  <a:schemeClr val="lt1">
                    <a:alpha val="99000"/>
                  </a:schemeClr>
                </a:solidFill>
                <a:latin typeface="Consolas" pitchFamily="49" charset="0"/>
                <a:cs typeface="Consolas" pitchFamily="49" charset="0"/>
              </a:rPr>
              <a:t>(x =&gt; </a:t>
            </a:r>
            <a:r>
              <a:rPr lang="en-US" sz="1400" dirty="0" err="1">
                <a:solidFill>
                  <a:schemeClr val="lt1">
                    <a:alpha val="99000"/>
                  </a:schemeClr>
                </a:solidFill>
                <a:latin typeface="Consolas" pitchFamily="49" charset="0"/>
                <a:cs typeface="Consolas" pitchFamily="49" charset="0"/>
              </a:rPr>
              <a:t>x.Id</a:t>
            </a:r>
            <a:r>
              <a:rPr lang="en-US" sz="1400" dirty="0">
                <a:solidFill>
                  <a:schemeClr val="lt1">
                    <a:alpha val="99000"/>
                  </a:schemeClr>
                </a:solidFill>
                <a:latin typeface="Consolas" pitchFamily="49" charset="0"/>
                <a:cs typeface="Consolas" pitchFamily="49" charset="0"/>
              </a:rPr>
              <a:t> == id);</a:t>
            </a:r>
          </a:p>
          <a:p>
            <a:endParaRPr lang="en-US" sz="1400" dirty="0">
              <a:solidFill>
                <a:schemeClr val="lt1">
                  <a:alpha val="99000"/>
                </a:schemeClr>
              </a:solidFill>
              <a:latin typeface="Consolas" pitchFamily="49" charset="0"/>
              <a:cs typeface="Consolas" pitchFamily="49" charset="0"/>
            </a:endParaRPr>
          </a:p>
          <a:p>
            <a:r>
              <a:rPr lang="en-US" sz="1400" dirty="0">
                <a:solidFill>
                  <a:schemeClr val="lt1">
                    <a:alpha val="99000"/>
                  </a:schemeClr>
                </a:solidFill>
                <a:latin typeface="Consolas" pitchFamily="49" charset="0"/>
                <a:cs typeface="Consolas" pitchFamily="49" charset="0"/>
              </a:rPr>
              <a:t>        return new </a:t>
            </a:r>
            <a:r>
              <a:rPr lang="en-US" sz="1400" dirty="0" err="1">
                <a:solidFill>
                  <a:schemeClr val="accent4">
                    <a:lumMod val="60000"/>
                    <a:lumOff val="40000"/>
                    <a:alpha val="99000"/>
                  </a:schemeClr>
                </a:solidFill>
                <a:latin typeface="Consolas" pitchFamily="49" charset="0"/>
                <a:cs typeface="Consolas" pitchFamily="49" charset="0"/>
              </a:rPr>
              <a:t>HttpResponseMessage</a:t>
            </a:r>
            <a:r>
              <a:rPr lang="en-US" sz="1400" dirty="0">
                <a:solidFill>
                  <a:schemeClr val="lt1">
                    <a:alpha val="99000"/>
                  </a:schemeClr>
                </a:solidFill>
                <a:latin typeface="Consolas" pitchFamily="49" charset="0"/>
                <a:cs typeface="Consolas" pitchFamily="49" charset="0"/>
              </a:rPr>
              <a:t>&lt;Person&gt;(</a:t>
            </a:r>
          </a:p>
          <a:p>
            <a:r>
              <a:rPr lang="en-US" sz="1400" dirty="0">
                <a:solidFill>
                  <a:schemeClr val="lt1">
                    <a:alpha val="99000"/>
                  </a:schemeClr>
                </a:solidFill>
                <a:latin typeface="Consolas" pitchFamily="49" charset="0"/>
                <a:cs typeface="Consolas" pitchFamily="49" charset="0"/>
              </a:rPr>
              <a:t>            person,</a:t>
            </a:r>
          </a:p>
          <a:p>
            <a:r>
              <a:rPr lang="en-US" sz="1400" dirty="0">
                <a:solidFill>
                  <a:schemeClr val="lt1">
                    <a:alpha val="99000"/>
                  </a:schemeClr>
                </a:solidFill>
                <a:latin typeface="Consolas" pitchFamily="49" charset="0"/>
                <a:cs typeface="Consolas" pitchFamily="49" charset="0"/>
              </a:rPr>
              <a:t>            </a:t>
            </a:r>
            <a:r>
              <a:rPr lang="en-US" sz="1400" dirty="0" err="1">
                <a:solidFill>
                  <a:schemeClr val="accent4">
                    <a:lumMod val="60000"/>
                    <a:lumOff val="40000"/>
                    <a:alpha val="99000"/>
                  </a:schemeClr>
                </a:solidFill>
                <a:latin typeface="Consolas" pitchFamily="49" charset="0"/>
                <a:cs typeface="Consolas" pitchFamily="49" charset="0"/>
              </a:rPr>
              <a:t>HttpStatusCode.OK</a:t>
            </a:r>
            <a:endParaRPr lang="en-US" sz="1400" dirty="0">
              <a:solidFill>
                <a:schemeClr val="accent4">
                  <a:lumMod val="60000"/>
                  <a:lumOff val="40000"/>
                  <a:alpha val="99000"/>
                </a:schemeClr>
              </a:solidFill>
              <a:latin typeface="Consolas" pitchFamily="49" charset="0"/>
              <a:cs typeface="Consolas" pitchFamily="49" charset="0"/>
            </a:endParaRPr>
          </a:p>
          <a:p>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    catch</a:t>
            </a:r>
          </a:p>
          <a:p>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        return </a:t>
            </a:r>
            <a:r>
              <a:rPr lang="en-US" sz="1400" dirty="0" smtClean="0">
                <a:solidFill>
                  <a:schemeClr val="lt1">
                    <a:alpha val="99000"/>
                  </a:schemeClr>
                </a:solidFill>
                <a:latin typeface="Consolas" pitchFamily="49" charset="0"/>
                <a:cs typeface="Consolas" pitchFamily="49" charset="0"/>
              </a:rPr>
              <a:t>new </a:t>
            </a:r>
            <a:r>
              <a:rPr lang="en-US" sz="1400" dirty="0" err="1" smtClean="0">
                <a:solidFill>
                  <a:schemeClr val="accent4">
                    <a:lumMod val="60000"/>
                    <a:lumOff val="40000"/>
                    <a:alpha val="99000"/>
                  </a:schemeClr>
                </a:solidFill>
                <a:latin typeface="Consolas" pitchFamily="49" charset="0"/>
                <a:cs typeface="Consolas" pitchFamily="49" charset="0"/>
              </a:rPr>
              <a:t>HttpResponseMessage</a:t>
            </a:r>
            <a:r>
              <a:rPr lang="en-US" sz="1400" dirty="0" smtClean="0">
                <a:solidFill>
                  <a:schemeClr val="lt1">
                    <a:alpha val="99000"/>
                  </a:schemeClr>
                </a:solidFill>
                <a:latin typeface="Consolas" pitchFamily="49" charset="0"/>
                <a:cs typeface="Consolas" pitchFamily="49" charset="0"/>
              </a:rPr>
              <a:t>&lt;Person</a:t>
            </a:r>
            <a:r>
              <a:rPr lang="en-US" sz="1400" dirty="0">
                <a:solidFill>
                  <a:schemeClr val="lt1">
                    <a:alpha val="99000"/>
                  </a:schemeClr>
                </a:solidFill>
                <a:latin typeface="Consolas" pitchFamily="49" charset="0"/>
                <a:cs typeface="Consolas" pitchFamily="49" charset="0"/>
              </a:rPr>
              <a:t>&gt;(</a:t>
            </a:r>
            <a:r>
              <a:rPr lang="en-US" sz="1400" dirty="0" err="1">
                <a:solidFill>
                  <a:schemeClr val="accent4">
                    <a:lumMod val="60000"/>
                    <a:lumOff val="40000"/>
                    <a:alpha val="99000"/>
                  </a:schemeClr>
                </a:solidFill>
                <a:latin typeface="Consolas" pitchFamily="49" charset="0"/>
                <a:cs typeface="Consolas" pitchFamily="49" charset="0"/>
              </a:rPr>
              <a:t>HttpStatusCode.NotFound</a:t>
            </a:r>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a:t>
            </a:r>
            <a:endParaRPr lang="en-US" sz="1400" dirty="0" smtClean="0">
              <a:solidFill>
                <a:schemeClr val="lt1">
                  <a:alpha val="99000"/>
                </a:schemeClr>
              </a:solidFill>
              <a:latin typeface="Consolas" pitchFamily="49" charset="0"/>
              <a:cs typeface="Consolas" pitchFamily="49" charset="0"/>
            </a:endParaRPr>
          </a:p>
        </p:txBody>
      </p:sp>
      <p:sp>
        <p:nvSpPr>
          <p:cNvPr id="15" name="Rectangle 14"/>
          <p:cNvSpPr/>
          <p:nvPr/>
        </p:nvSpPr>
        <p:spPr>
          <a:xfrm>
            <a:off x="433838" y="2118999"/>
            <a:ext cx="4025461" cy="1815882"/>
          </a:xfrm>
          <a:prstGeom prst="rect">
            <a:avLst/>
          </a:prstGeom>
        </p:spPr>
        <p:txBody>
          <a:bodyPr wrap="none">
            <a:spAutoFit/>
          </a:bodyPr>
          <a:lstStyle/>
          <a:p>
            <a:r>
              <a:rPr lang="en-US" sz="4000" dirty="0" smtClean="0">
                <a:solidFill>
                  <a:schemeClr val="accent2">
                    <a:alpha val="99000"/>
                  </a:schemeClr>
                </a:solidFill>
                <a:latin typeface="Segoe UI Light" pitchFamily="34" charset="0"/>
              </a:rPr>
              <a:t>Example</a:t>
            </a:r>
            <a:endParaRPr lang="en-US" sz="4000" dirty="0">
              <a:solidFill>
                <a:schemeClr val="accent2">
                  <a:alpha val="99000"/>
                </a:schemeClr>
              </a:solidFill>
              <a:latin typeface="Segoe UI Light" pitchFamily="34" charset="0"/>
            </a:endParaRPr>
          </a:p>
          <a:p>
            <a:r>
              <a:rPr lang="en-US" dirty="0" smtClean="0">
                <a:solidFill>
                  <a:schemeClr val="tx2">
                    <a:alpha val="99000"/>
                  </a:schemeClr>
                </a:solidFill>
                <a:latin typeface="Segoe UI Light" pitchFamily="34" charset="0"/>
              </a:rPr>
              <a:t>Find a person and return it,</a:t>
            </a:r>
            <a:br>
              <a:rPr lang="en-US" dirty="0" smtClean="0">
                <a:solidFill>
                  <a:schemeClr val="tx2">
                    <a:alpha val="99000"/>
                  </a:schemeClr>
                </a:solidFill>
                <a:latin typeface="Segoe UI Light" pitchFamily="34" charset="0"/>
              </a:rPr>
            </a:br>
            <a:r>
              <a:rPr lang="en-US" dirty="0" smtClean="0">
                <a:solidFill>
                  <a:schemeClr val="tx2">
                    <a:alpha val="99000"/>
                  </a:schemeClr>
                </a:solidFill>
                <a:latin typeface="Segoe UI Light" pitchFamily="34" charset="0"/>
              </a:rPr>
              <a:t>but what happens if we don’t </a:t>
            </a:r>
            <a:br>
              <a:rPr lang="en-US" dirty="0" smtClean="0">
                <a:solidFill>
                  <a:schemeClr val="tx2">
                    <a:alpha val="99000"/>
                  </a:schemeClr>
                </a:solidFill>
                <a:latin typeface="Segoe UI Light" pitchFamily="34" charset="0"/>
              </a:rPr>
            </a:br>
            <a:r>
              <a:rPr lang="en-US" dirty="0" smtClean="0">
                <a:solidFill>
                  <a:schemeClr val="tx2">
                    <a:alpha val="99000"/>
                  </a:schemeClr>
                </a:solidFill>
                <a:latin typeface="Segoe UI Light" pitchFamily="34" charset="0"/>
              </a:rPr>
              <a:t>find a match?</a:t>
            </a:r>
          </a:p>
        </p:txBody>
      </p:sp>
      <p:sp>
        <p:nvSpPr>
          <p:cNvPr id="16" name="Rectangle 15"/>
          <p:cNvSpPr/>
          <p:nvPr>
            <p:custDataLst>
              <p:tags r:id="rId4"/>
            </p:custDataLst>
          </p:nvPr>
        </p:nvSpPr>
        <p:spPr bwMode="auto">
          <a:xfrm>
            <a:off x="431031" y="1425142"/>
            <a:ext cx="11326760" cy="58477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noAutofit/>
          </a:bodyPr>
          <a:lstStyle/>
          <a:p>
            <a:pPr algn="ctr" defTabSz="914363" fontAlgn="base">
              <a:spcBef>
                <a:spcPts val="1200"/>
              </a:spcBef>
              <a:buSzPct val="80000"/>
            </a:pPr>
            <a:r>
              <a:rPr lang="en-US" sz="2800" dirty="0">
                <a:ln>
                  <a:solidFill>
                    <a:schemeClr val="bg1">
                      <a:alpha val="0"/>
                    </a:schemeClr>
                  </a:solidFill>
                </a:ln>
                <a:solidFill>
                  <a:schemeClr val="bg1"/>
                </a:solidFill>
              </a:rPr>
              <a:t>Return </a:t>
            </a:r>
            <a:r>
              <a:rPr lang="en-US" sz="2800" dirty="0" err="1">
                <a:ln>
                  <a:solidFill>
                    <a:schemeClr val="bg1">
                      <a:alpha val="0"/>
                    </a:schemeClr>
                  </a:solidFill>
                </a:ln>
                <a:solidFill>
                  <a:schemeClr val="bg1"/>
                </a:solidFill>
              </a:rPr>
              <a:t>HttpResponseMessage</a:t>
            </a:r>
            <a:r>
              <a:rPr lang="en-US" sz="2800" dirty="0">
                <a:ln>
                  <a:solidFill>
                    <a:schemeClr val="bg1">
                      <a:alpha val="0"/>
                    </a:schemeClr>
                  </a:solidFill>
                </a:ln>
                <a:solidFill>
                  <a:schemeClr val="bg1"/>
                </a:solidFill>
              </a:rPr>
              <a:t>&lt;T&gt; to </a:t>
            </a:r>
            <a:r>
              <a:rPr lang="en-US" sz="2800" dirty="0" smtClean="0">
                <a:ln>
                  <a:solidFill>
                    <a:schemeClr val="bg1">
                      <a:alpha val="0"/>
                    </a:schemeClr>
                  </a:solidFill>
                </a:ln>
                <a:solidFill>
                  <a:schemeClr val="bg1"/>
                </a:solidFill>
              </a:rPr>
              <a:t>modify response headers</a:t>
            </a:r>
            <a:endParaRPr lang="en-US" sz="2800" dirty="0">
              <a:ln>
                <a:solidFill>
                  <a:schemeClr val="bg1">
                    <a:alpha val="0"/>
                  </a:schemeClr>
                </a:solidFill>
              </a:ln>
              <a:solidFill>
                <a:schemeClr val="bg1"/>
              </a:solidFill>
            </a:endParaRPr>
          </a:p>
        </p:txBody>
      </p:sp>
    </p:spTree>
    <p:extLst>
      <p:ext uri="{BB962C8B-B14F-4D97-AF65-F5344CB8AC3E}">
        <p14:creationId xmlns:p14="http://schemas.microsoft.com/office/powerpoint/2010/main" val="25137898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anipulating HTTP Responses</a:t>
            </a:r>
          </a:p>
        </p:txBody>
      </p:sp>
      <p:pic>
        <p:nvPicPr>
          <p:cNvPr id="61442" name="Picture 2" descr="C:\Users\bradyg\AppData\Local\Temp\SNAGHTML3a1fd01b.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163743" y="2246313"/>
            <a:ext cx="5532540" cy="3036885"/>
          </a:xfrm>
          <a:prstGeom prst="rect">
            <a:avLst/>
          </a:prstGeom>
          <a:noFill/>
          <a:extLst>
            <a:ext uri="{909E8E84-426E-40DD-AFC4-6F175D3DCCD1}">
              <a14:hiddenFill xmlns:a14="http://schemas.microsoft.com/office/drawing/2010/main">
                <a:solidFill>
                  <a:srgbClr val="FFFFFF"/>
                </a:solidFill>
              </a14:hiddenFill>
            </a:ext>
          </a:extLst>
        </p:spPr>
      </p:pic>
      <p:pic>
        <p:nvPicPr>
          <p:cNvPr id="61444" name="Picture 4" descr="C:\Users\bradyg\AppData\Local\Temp\SNAGHTML3a20b9be.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18042" y="2246312"/>
            <a:ext cx="5532546" cy="3036887"/>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8"/>
          <p:cNvSpPr/>
          <p:nvPr>
            <p:custDataLst>
              <p:tags r:id="rId1"/>
            </p:custDataLst>
          </p:nvPr>
        </p:nvSpPr>
        <p:spPr bwMode="auto">
          <a:xfrm>
            <a:off x="431031" y="1399742"/>
            <a:ext cx="11326760" cy="58477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noAutofit/>
          </a:bodyPr>
          <a:lstStyle/>
          <a:p>
            <a:pPr algn="ctr"/>
            <a:r>
              <a:rPr lang="en-US" sz="2800" dirty="0"/>
              <a:t>A successful API call returns an HTTP OK and the JSON data</a:t>
            </a:r>
          </a:p>
        </p:txBody>
      </p:sp>
    </p:spTree>
    <p:extLst>
      <p:ext uri="{BB962C8B-B14F-4D97-AF65-F5344CB8AC3E}">
        <p14:creationId xmlns:p14="http://schemas.microsoft.com/office/powerpoint/2010/main" val="4031327986"/>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anipulating HTTP Responses</a:t>
            </a:r>
          </a:p>
        </p:txBody>
      </p:sp>
      <p:sp>
        <p:nvSpPr>
          <p:cNvPr id="9" name="Rectangle 8"/>
          <p:cNvSpPr/>
          <p:nvPr>
            <p:custDataLst>
              <p:tags r:id="rId1"/>
            </p:custDataLst>
          </p:nvPr>
        </p:nvSpPr>
        <p:spPr bwMode="auto">
          <a:xfrm>
            <a:off x="431031" y="1399742"/>
            <a:ext cx="11326760" cy="58477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noAutofit/>
          </a:bodyPr>
          <a:lstStyle/>
          <a:p>
            <a:pPr algn="ctr"/>
            <a:r>
              <a:rPr lang="en-US" sz="2800" dirty="0"/>
              <a:t>An unsuccessful API call returns an HTTP 404 (and no JSON)</a:t>
            </a:r>
          </a:p>
        </p:txBody>
      </p:sp>
      <p:pic>
        <p:nvPicPr>
          <p:cNvPr id="62466" name="Picture 2" descr="C:\Users\bradyg\AppData\Local\Temp\SNAGHTML3a25734c.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14097" y="2246313"/>
            <a:ext cx="5525558" cy="3033052"/>
          </a:xfrm>
          <a:prstGeom prst="rect">
            <a:avLst/>
          </a:prstGeom>
          <a:noFill/>
          <a:extLst>
            <a:ext uri="{909E8E84-426E-40DD-AFC4-6F175D3DCCD1}">
              <a14:hiddenFill xmlns:a14="http://schemas.microsoft.com/office/drawing/2010/main">
                <a:solidFill>
                  <a:srgbClr val="FFFFFF"/>
                </a:solidFill>
              </a14:hiddenFill>
            </a:ext>
          </a:extLst>
        </p:spPr>
      </p:pic>
      <p:pic>
        <p:nvPicPr>
          <p:cNvPr id="62468" name="Picture 4" descr="C:\Users\bradyg\AppData\Local\Temp\SNAGHTML3a263fde.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153680" y="2246314"/>
            <a:ext cx="5564189" cy="30542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22858843"/>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8589408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6566"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4" name="Title 3"/>
          <p:cNvSpPr>
            <a:spLocks noGrp="1"/>
          </p:cNvSpPr>
          <p:nvPr>
            <p:ph type="ctrTitle"/>
            <p:custDataLst>
              <p:tags r:id="rId3"/>
            </p:custDataLst>
          </p:nvPr>
        </p:nvSpPr>
        <p:spPr/>
        <p:txBody>
          <a:bodyPr/>
          <a:lstStyle/>
          <a:p>
            <a:r>
              <a:rPr lang="en-US" smtClean="0"/>
              <a:t>Building a read only Web API</a:t>
            </a:r>
            <a:endParaRPr lang="en-US" dirty="0"/>
          </a:p>
        </p:txBody>
      </p:sp>
      <p:sp>
        <p:nvSpPr>
          <p:cNvPr id="9" name="Subtitle 8"/>
          <p:cNvSpPr>
            <a:spLocks noGrp="1"/>
          </p:cNvSpPr>
          <p:nvPr>
            <p:ph type="subTitle" idx="1"/>
          </p:nvPr>
        </p:nvSpPr>
        <p:spPr/>
        <p:txBody>
          <a:bodyPr/>
          <a:lstStyle/>
          <a:p>
            <a:endParaRPr lang="en-US"/>
          </a:p>
        </p:txBody>
      </p:sp>
      <p:sp>
        <p:nvSpPr>
          <p:cNvPr id="6" name="Text Placeholder 5"/>
          <p:cNvSpPr>
            <a:spLocks noGrp="1"/>
          </p:cNvSpPr>
          <p:nvPr>
            <p:ph type="body" sz="quarter" idx="10"/>
          </p:nvPr>
        </p:nvSpPr>
        <p:spPr/>
        <p:txBody>
          <a:bodyPr/>
          <a:lstStyle/>
          <a:p>
            <a:r>
              <a:rPr lang="en-US" smtClean="0"/>
              <a:t>demo</a:t>
            </a:r>
            <a:endParaRPr lang="en-US" dirty="0"/>
          </a:p>
        </p:txBody>
      </p:sp>
    </p:spTree>
    <p:extLst>
      <p:ext uri="{BB962C8B-B14F-4D97-AF65-F5344CB8AC3E}">
        <p14:creationId xmlns:p14="http://schemas.microsoft.com/office/powerpoint/2010/main" val="2380130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33263111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5929"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smtClean="0"/>
              <a:t>Making an API Updatable</a:t>
            </a:r>
            <a:endParaRPr lang="en-US" dirty="0"/>
          </a:p>
        </p:txBody>
      </p:sp>
      <p:sp>
        <p:nvSpPr>
          <p:cNvPr id="8" name="Content Placeholder 7"/>
          <p:cNvSpPr>
            <a:spLocks noGrp="1"/>
          </p:cNvSpPr>
          <p:nvPr>
            <p:ph type="body" sz="quarter" idx="10"/>
            <p:custDataLst>
              <p:tags r:id="rId4"/>
            </p:custDataLst>
          </p:nvPr>
        </p:nvSpPr>
        <p:spPr>
          <a:xfrm>
            <a:off x="519112" y="1424049"/>
            <a:ext cx="11149013" cy="1815882"/>
          </a:xfrm>
        </p:spPr>
        <p:txBody>
          <a:bodyPr/>
          <a:lstStyle/>
          <a:p>
            <a:pPr>
              <a:spcAft>
                <a:spcPts val="1200"/>
              </a:spcAft>
            </a:pPr>
            <a:r>
              <a:rPr lang="en-US" sz="4000" dirty="0">
                <a:gradFill>
                  <a:gsLst>
                    <a:gs pos="0">
                      <a:schemeClr val="accent2"/>
                    </a:gs>
                    <a:gs pos="100000">
                      <a:schemeClr val="accent2"/>
                    </a:gs>
                  </a:gsLst>
                  <a:lin ang="5400000" scaled="0"/>
                </a:gradFill>
                <a:latin typeface="Segoe UI Light" pitchFamily="34" charset="0"/>
              </a:rPr>
              <a:t>Why?</a:t>
            </a:r>
          </a:p>
          <a:p>
            <a:pPr>
              <a:spcAft>
                <a:spcPts val="1200"/>
              </a:spcAft>
            </a:pPr>
            <a:r>
              <a:rPr lang="en-US" sz="4000" dirty="0" smtClean="0">
                <a:latin typeface="Segoe UI Light" pitchFamily="34" charset="0"/>
              </a:rPr>
              <a:t>Allow clients to modify </a:t>
            </a:r>
            <a:br>
              <a:rPr lang="en-US" sz="4000" dirty="0" smtClean="0">
                <a:latin typeface="Segoe UI Light" pitchFamily="34" charset="0"/>
              </a:rPr>
            </a:br>
            <a:r>
              <a:rPr lang="en-US" sz="4000" dirty="0" smtClean="0">
                <a:latin typeface="Segoe UI Light" pitchFamily="34" charset="0"/>
              </a:rPr>
              <a:t>the state of the server</a:t>
            </a:r>
            <a:endParaRPr lang="en-US" sz="4000" dirty="0">
              <a:latin typeface="Segoe UI Light" pitchFamily="34" charset="0"/>
            </a:endParaRPr>
          </a:p>
        </p:txBody>
      </p:sp>
      <p:sp>
        <p:nvSpPr>
          <p:cNvPr id="7" name="Rectangle 6"/>
          <p:cNvSpPr/>
          <p:nvPr/>
        </p:nvSpPr>
        <p:spPr bwMode="auto">
          <a:xfrm>
            <a:off x="9072081" y="1141413"/>
            <a:ext cx="2603981" cy="5716587"/>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9" name="Freeform 80"/>
          <p:cNvSpPr>
            <a:spLocks noEditPoints="1"/>
          </p:cNvSpPr>
          <p:nvPr/>
        </p:nvSpPr>
        <p:spPr bwMode="black">
          <a:xfrm>
            <a:off x="9356580" y="1447799"/>
            <a:ext cx="2034982" cy="2468856"/>
          </a:xfrm>
          <a:custGeom>
            <a:avLst/>
            <a:gdLst>
              <a:gd name="T0" fmla="*/ 952 w 1833"/>
              <a:gd name="T1" fmla="*/ 1301 h 2225"/>
              <a:gd name="T2" fmla="*/ 882 w 1833"/>
              <a:gd name="T3" fmla="*/ 1413 h 2225"/>
              <a:gd name="T4" fmla="*/ 677 w 1833"/>
              <a:gd name="T5" fmla="*/ 2162 h 2225"/>
              <a:gd name="T6" fmla="*/ 1156 w 1833"/>
              <a:gd name="T7" fmla="*/ 2162 h 2225"/>
              <a:gd name="T8" fmla="*/ 1071 w 1833"/>
              <a:gd name="T9" fmla="*/ 2089 h 2225"/>
              <a:gd name="T10" fmla="*/ 785 w 1833"/>
              <a:gd name="T11" fmla="*/ 2039 h 2225"/>
              <a:gd name="T12" fmla="*/ 1071 w 1833"/>
              <a:gd name="T13" fmla="*/ 2089 h 2225"/>
              <a:gd name="T14" fmla="*/ 760 w 1833"/>
              <a:gd name="T15" fmla="*/ 1949 h 2225"/>
              <a:gd name="T16" fmla="*/ 1096 w 1833"/>
              <a:gd name="T17" fmla="*/ 1949 h 2225"/>
              <a:gd name="T18" fmla="*/ 1026 w 1833"/>
              <a:gd name="T19" fmla="*/ 1801 h 2225"/>
              <a:gd name="T20" fmla="*/ 1061 w 1833"/>
              <a:gd name="T21" fmla="*/ 1836 h 2225"/>
              <a:gd name="T22" fmla="*/ 260 w 1833"/>
              <a:gd name="T23" fmla="*/ 1329 h 2225"/>
              <a:gd name="T24" fmla="*/ 748 w 1833"/>
              <a:gd name="T25" fmla="*/ 1136 h 2225"/>
              <a:gd name="T26" fmla="*/ 190 w 1833"/>
              <a:gd name="T27" fmla="*/ 1329 h 2225"/>
              <a:gd name="T28" fmla="*/ 0 w 1833"/>
              <a:gd name="T29" fmla="*/ 1476 h 2225"/>
              <a:gd name="T30" fmla="*/ 416 w 1833"/>
              <a:gd name="T31" fmla="*/ 2225 h 2225"/>
              <a:gd name="T32" fmla="*/ 416 w 1833"/>
              <a:gd name="T33" fmla="*/ 1413 h 2225"/>
              <a:gd name="T34" fmla="*/ 83 w 1833"/>
              <a:gd name="T35" fmla="*/ 2064 h 2225"/>
              <a:gd name="T36" fmla="*/ 419 w 1833"/>
              <a:gd name="T37" fmla="*/ 2064 h 2225"/>
              <a:gd name="T38" fmla="*/ 108 w 1833"/>
              <a:gd name="T39" fmla="*/ 1974 h 2225"/>
              <a:gd name="T40" fmla="*/ 394 w 1833"/>
              <a:gd name="T41" fmla="*/ 1924 h 2225"/>
              <a:gd name="T42" fmla="*/ 384 w 1833"/>
              <a:gd name="T43" fmla="*/ 1836 h 2225"/>
              <a:gd name="T44" fmla="*/ 419 w 1833"/>
              <a:gd name="T45" fmla="*/ 1801 h 2225"/>
              <a:gd name="T46" fmla="*/ 1643 w 1833"/>
              <a:gd name="T47" fmla="*/ 1413 h 2225"/>
              <a:gd name="T48" fmla="*/ 1082 w 1833"/>
              <a:gd name="T49" fmla="*/ 1101 h 2225"/>
              <a:gd name="T50" fmla="*/ 1415 w 1833"/>
              <a:gd name="T51" fmla="*/ 1171 h 2225"/>
              <a:gd name="T52" fmla="*/ 1417 w 1833"/>
              <a:gd name="T53" fmla="*/ 1413 h 2225"/>
              <a:gd name="T54" fmla="*/ 1417 w 1833"/>
              <a:gd name="T55" fmla="*/ 2225 h 2225"/>
              <a:gd name="T56" fmla="*/ 1833 w 1833"/>
              <a:gd name="T57" fmla="*/ 1476 h 2225"/>
              <a:gd name="T58" fmla="*/ 1462 w 1833"/>
              <a:gd name="T59" fmla="*/ 2089 h 2225"/>
              <a:gd name="T60" fmla="*/ 1748 w 1833"/>
              <a:gd name="T61" fmla="*/ 2039 h 2225"/>
              <a:gd name="T62" fmla="*/ 1748 w 1833"/>
              <a:gd name="T63" fmla="*/ 1974 h 2225"/>
              <a:gd name="T64" fmla="*/ 1462 w 1833"/>
              <a:gd name="T65" fmla="*/ 1924 h 2225"/>
              <a:gd name="T66" fmla="*/ 1748 w 1833"/>
              <a:gd name="T67" fmla="*/ 1974 h 2225"/>
              <a:gd name="T68" fmla="*/ 1738 w 1833"/>
              <a:gd name="T69" fmla="*/ 1766 h 2225"/>
              <a:gd name="T70" fmla="*/ 650 w 1833"/>
              <a:gd name="T71" fmla="*/ 592 h 2225"/>
              <a:gd name="T72" fmla="*/ 1296 w 1833"/>
              <a:gd name="T73" fmla="*/ 113 h 2225"/>
              <a:gd name="T74" fmla="*/ 537 w 1833"/>
              <a:gd name="T75" fmla="*/ 113 h 2225"/>
              <a:gd name="T76" fmla="*/ 603 w 1833"/>
              <a:gd name="T77" fmla="*/ 113 h 2225"/>
              <a:gd name="T78" fmla="*/ 1231 w 1833"/>
              <a:gd name="T79" fmla="*/ 113 h 2225"/>
              <a:gd name="T80" fmla="*/ 650 w 1833"/>
              <a:gd name="T81" fmla="*/ 526 h 2225"/>
              <a:gd name="T82" fmla="*/ 405 w 1833"/>
              <a:gd name="T83" fmla="*/ 902 h 2225"/>
              <a:gd name="T84" fmla="*/ 803 w 1833"/>
              <a:gd name="T85" fmla="*/ 1101 h 2225"/>
              <a:gd name="T86" fmla="*/ 882 w 1833"/>
              <a:gd name="T87" fmla="*/ 1250 h 2225"/>
              <a:gd name="T88" fmla="*/ 1031 w 1833"/>
              <a:gd name="T89" fmla="*/ 1171 h 2225"/>
              <a:gd name="T90" fmla="*/ 952 w 1833"/>
              <a:gd name="T91" fmla="*/ 1021 h 2225"/>
              <a:gd name="T92" fmla="*/ 1457 w 1833"/>
              <a:gd name="T93" fmla="*/ 874 h 2225"/>
              <a:gd name="T94" fmla="*/ 1303 w 1833"/>
              <a:gd name="T95" fmla="*/ 652 h 2225"/>
              <a:gd name="T96" fmla="*/ 530 w 1833"/>
              <a:gd name="T97" fmla="*/ 652 h 2225"/>
              <a:gd name="T98" fmla="*/ 377 w 1833"/>
              <a:gd name="T99" fmla="*/ 874 h 2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833" h="2225">
                <a:moveTo>
                  <a:pt x="1093" y="1413"/>
                </a:moveTo>
                <a:cubicBezTo>
                  <a:pt x="952" y="1413"/>
                  <a:pt x="952" y="1413"/>
                  <a:pt x="952" y="1413"/>
                </a:cubicBezTo>
                <a:cubicBezTo>
                  <a:pt x="952" y="1301"/>
                  <a:pt x="952" y="1301"/>
                  <a:pt x="952" y="1301"/>
                </a:cubicBezTo>
                <a:cubicBezTo>
                  <a:pt x="940" y="1304"/>
                  <a:pt x="929" y="1305"/>
                  <a:pt x="917" y="1305"/>
                </a:cubicBezTo>
                <a:cubicBezTo>
                  <a:pt x="905" y="1305"/>
                  <a:pt x="893" y="1304"/>
                  <a:pt x="882" y="1301"/>
                </a:cubicBezTo>
                <a:cubicBezTo>
                  <a:pt x="882" y="1413"/>
                  <a:pt x="882" y="1413"/>
                  <a:pt x="882" y="1413"/>
                </a:cubicBezTo>
                <a:cubicBezTo>
                  <a:pt x="740" y="1413"/>
                  <a:pt x="740" y="1413"/>
                  <a:pt x="740" y="1413"/>
                </a:cubicBezTo>
                <a:cubicBezTo>
                  <a:pt x="705" y="1413"/>
                  <a:pt x="677" y="1441"/>
                  <a:pt x="677" y="1476"/>
                </a:cubicBezTo>
                <a:cubicBezTo>
                  <a:pt x="677" y="2162"/>
                  <a:pt x="677" y="2162"/>
                  <a:pt x="677" y="2162"/>
                </a:cubicBezTo>
                <a:cubicBezTo>
                  <a:pt x="677" y="2197"/>
                  <a:pt x="705" y="2225"/>
                  <a:pt x="740" y="2225"/>
                </a:cubicBezTo>
                <a:cubicBezTo>
                  <a:pt x="1093" y="2225"/>
                  <a:pt x="1093" y="2225"/>
                  <a:pt x="1093" y="2225"/>
                </a:cubicBezTo>
                <a:cubicBezTo>
                  <a:pt x="1128" y="2225"/>
                  <a:pt x="1156" y="2197"/>
                  <a:pt x="1156" y="2162"/>
                </a:cubicBezTo>
                <a:cubicBezTo>
                  <a:pt x="1156" y="1476"/>
                  <a:pt x="1156" y="1476"/>
                  <a:pt x="1156" y="1476"/>
                </a:cubicBezTo>
                <a:cubicBezTo>
                  <a:pt x="1156" y="1441"/>
                  <a:pt x="1128" y="1413"/>
                  <a:pt x="1093" y="1413"/>
                </a:cubicBezTo>
                <a:close/>
                <a:moveTo>
                  <a:pt x="1071" y="2089"/>
                </a:moveTo>
                <a:cubicBezTo>
                  <a:pt x="785" y="2089"/>
                  <a:pt x="785" y="2089"/>
                  <a:pt x="785" y="2089"/>
                </a:cubicBezTo>
                <a:cubicBezTo>
                  <a:pt x="771" y="2089"/>
                  <a:pt x="760" y="2078"/>
                  <a:pt x="760" y="2064"/>
                </a:cubicBezTo>
                <a:cubicBezTo>
                  <a:pt x="760" y="2050"/>
                  <a:pt x="771" y="2039"/>
                  <a:pt x="785" y="2039"/>
                </a:cubicBezTo>
                <a:cubicBezTo>
                  <a:pt x="1071" y="2039"/>
                  <a:pt x="1071" y="2039"/>
                  <a:pt x="1071" y="2039"/>
                </a:cubicBezTo>
                <a:cubicBezTo>
                  <a:pt x="1085" y="2039"/>
                  <a:pt x="1096" y="2050"/>
                  <a:pt x="1096" y="2064"/>
                </a:cubicBezTo>
                <a:cubicBezTo>
                  <a:pt x="1096" y="2078"/>
                  <a:pt x="1085" y="2089"/>
                  <a:pt x="1071" y="2089"/>
                </a:cubicBezTo>
                <a:close/>
                <a:moveTo>
                  <a:pt x="1071" y="1974"/>
                </a:moveTo>
                <a:cubicBezTo>
                  <a:pt x="785" y="1974"/>
                  <a:pt x="785" y="1974"/>
                  <a:pt x="785" y="1974"/>
                </a:cubicBezTo>
                <a:cubicBezTo>
                  <a:pt x="771" y="1974"/>
                  <a:pt x="760" y="1963"/>
                  <a:pt x="760" y="1949"/>
                </a:cubicBezTo>
                <a:cubicBezTo>
                  <a:pt x="760" y="1935"/>
                  <a:pt x="771" y="1924"/>
                  <a:pt x="785" y="1924"/>
                </a:cubicBezTo>
                <a:cubicBezTo>
                  <a:pt x="1071" y="1924"/>
                  <a:pt x="1071" y="1924"/>
                  <a:pt x="1071" y="1924"/>
                </a:cubicBezTo>
                <a:cubicBezTo>
                  <a:pt x="1085" y="1924"/>
                  <a:pt x="1096" y="1935"/>
                  <a:pt x="1096" y="1949"/>
                </a:cubicBezTo>
                <a:cubicBezTo>
                  <a:pt x="1096" y="1963"/>
                  <a:pt x="1085" y="1974"/>
                  <a:pt x="1071" y="1974"/>
                </a:cubicBezTo>
                <a:close/>
                <a:moveTo>
                  <a:pt x="1061" y="1836"/>
                </a:moveTo>
                <a:cubicBezTo>
                  <a:pt x="1042" y="1836"/>
                  <a:pt x="1026" y="1820"/>
                  <a:pt x="1026" y="1801"/>
                </a:cubicBezTo>
                <a:cubicBezTo>
                  <a:pt x="1026" y="1782"/>
                  <a:pt x="1042" y="1766"/>
                  <a:pt x="1061" y="1766"/>
                </a:cubicBezTo>
                <a:cubicBezTo>
                  <a:pt x="1081" y="1766"/>
                  <a:pt x="1096" y="1782"/>
                  <a:pt x="1096" y="1801"/>
                </a:cubicBezTo>
                <a:cubicBezTo>
                  <a:pt x="1096" y="1820"/>
                  <a:pt x="1081" y="1836"/>
                  <a:pt x="1061" y="1836"/>
                </a:cubicBezTo>
                <a:close/>
                <a:moveTo>
                  <a:pt x="416" y="1413"/>
                </a:moveTo>
                <a:cubicBezTo>
                  <a:pt x="260" y="1413"/>
                  <a:pt x="260" y="1413"/>
                  <a:pt x="260" y="1413"/>
                </a:cubicBezTo>
                <a:cubicBezTo>
                  <a:pt x="260" y="1329"/>
                  <a:pt x="260" y="1329"/>
                  <a:pt x="260" y="1329"/>
                </a:cubicBezTo>
                <a:cubicBezTo>
                  <a:pt x="260" y="1242"/>
                  <a:pt x="331" y="1171"/>
                  <a:pt x="418" y="1171"/>
                </a:cubicBezTo>
                <a:cubicBezTo>
                  <a:pt x="751" y="1171"/>
                  <a:pt x="751" y="1171"/>
                  <a:pt x="751" y="1171"/>
                </a:cubicBezTo>
                <a:cubicBezTo>
                  <a:pt x="749" y="1159"/>
                  <a:pt x="748" y="1148"/>
                  <a:pt x="748" y="1136"/>
                </a:cubicBezTo>
                <a:cubicBezTo>
                  <a:pt x="748" y="1124"/>
                  <a:pt x="749" y="1112"/>
                  <a:pt x="751" y="1101"/>
                </a:cubicBezTo>
                <a:cubicBezTo>
                  <a:pt x="418" y="1101"/>
                  <a:pt x="418" y="1101"/>
                  <a:pt x="418" y="1101"/>
                </a:cubicBezTo>
                <a:cubicBezTo>
                  <a:pt x="293" y="1101"/>
                  <a:pt x="190" y="1203"/>
                  <a:pt x="190" y="1329"/>
                </a:cubicBezTo>
                <a:cubicBezTo>
                  <a:pt x="190" y="1413"/>
                  <a:pt x="190" y="1413"/>
                  <a:pt x="190" y="1413"/>
                </a:cubicBezTo>
                <a:cubicBezTo>
                  <a:pt x="63" y="1413"/>
                  <a:pt x="63" y="1413"/>
                  <a:pt x="63" y="1413"/>
                </a:cubicBezTo>
                <a:cubicBezTo>
                  <a:pt x="28" y="1413"/>
                  <a:pt x="0" y="1441"/>
                  <a:pt x="0" y="1476"/>
                </a:cubicBezTo>
                <a:cubicBezTo>
                  <a:pt x="0" y="2162"/>
                  <a:pt x="0" y="2162"/>
                  <a:pt x="0" y="2162"/>
                </a:cubicBezTo>
                <a:cubicBezTo>
                  <a:pt x="0" y="2197"/>
                  <a:pt x="28" y="2225"/>
                  <a:pt x="63" y="2225"/>
                </a:cubicBezTo>
                <a:cubicBezTo>
                  <a:pt x="416" y="2225"/>
                  <a:pt x="416" y="2225"/>
                  <a:pt x="416" y="2225"/>
                </a:cubicBezTo>
                <a:cubicBezTo>
                  <a:pt x="451" y="2225"/>
                  <a:pt x="480" y="2197"/>
                  <a:pt x="480" y="2162"/>
                </a:cubicBezTo>
                <a:cubicBezTo>
                  <a:pt x="480" y="1476"/>
                  <a:pt x="480" y="1476"/>
                  <a:pt x="480" y="1476"/>
                </a:cubicBezTo>
                <a:cubicBezTo>
                  <a:pt x="480" y="1441"/>
                  <a:pt x="451" y="1413"/>
                  <a:pt x="416" y="1413"/>
                </a:cubicBezTo>
                <a:close/>
                <a:moveTo>
                  <a:pt x="394" y="2089"/>
                </a:moveTo>
                <a:cubicBezTo>
                  <a:pt x="108" y="2089"/>
                  <a:pt x="108" y="2089"/>
                  <a:pt x="108" y="2089"/>
                </a:cubicBezTo>
                <a:cubicBezTo>
                  <a:pt x="94" y="2089"/>
                  <a:pt x="83" y="2078"/>
                  <a:pt x="83" y="2064"/>
                </a:cubicBezTo>
                <a:cubicBezTo>
                  <a:pt x="83" y="2050"/>
                  <a:pt x="94" y="2039"/>
                  <a:pt x="108" y="2039"/>
                </a:cubicBezTo>
                <a:cubicBezTo>
                  <a:pt x="394" y="2039"/>
                  <a:pt x="394" y="2039"/>
                  <a:pt x="394" y="2039"/>
                </a:cubicBezTo>
                <a:cubicBezTo>
                  <a:pt x="408" y="2039"/>
                  <a:pt x="419" y="2050"/>
                  <a:pt x="419" y="2064"/>
                </a:cubicBezTo>
                <a:cubicBezTo>
                  <a:pt x="419" y="2078"/>
                  <a:pt x="408" y="2089"/>
                  <a:pt x="394" y="2089"/>
                </a:cubicBezTo>
                <a:close/>
                <a:moveTo>
                  <a:pt x="394" y="1974"/>
                </a:moveTo>
                <a:cubicBezTo>
                  <a:pt x="108" y="1974"/>
                  <a:pt x="108" y="1974"/>
                  <a:pt x="108" y="1974"/>
                </a:cubicBezTo>
                <a:cubicBezTo>
                  <a:pt x="94" y="1974"/>
                  <a:pt x="83" y="1963"/>
                  <a:pt x="83" y="1949"/>
                </a:cubicBezTo>
                <a:cubicBezTo>
                  <a:pt x="83" y="1935"/>
                  <a:pt x="94" y="1924"/>
                  <a:pt x="108" y="1924"/>
                </a:cubicBezTo>
                <a:cubicBezTo>
                  <a:pt x="394" y="1924"/>
                  <a:pt x="394" y="1924"/>
                  <a:pt x="394" y="1924"/>
                </a:cubicBezTo>
                <a:cubicBezTo>
                  <a:pt x="408" y="1924"/>
                  <a:pt x="419" y="1935"/>
                  <a:pt x="419" y="1949"/>
                </a:cubicBezTo>
                <a:cubicBezTo>
                  <a:pt x="419" y="1963"/>
                  <a:pt x="408" y="1974"/>
                  <a:pt x="394" y="1974"/>
                </a:cubicBezTo>
                <a:close/>
                <a:moveTo>
                  <a:pt x="384" y="1836"/>
                </a:moveTo>
                <a:cubicBezTo>
                  <a:pt x="365" y="1836"/>
                  <a:pt x="350" y="1820"/>
                  <a:pt x="350" y="1801"/>
                </a:cubicBezTo>
                <a:cubicBezTo>
                  <a:pt x="350" y="1782"/>
                  <a:pt x="365" y="1766"/>
                  <a:pt x="384" y="1766"/>
                </a:cubicBezTo>
                <a:cubicBezTo>
                  <a:pt x="404" y="1766"/>
                  <a:pt x="419" y="1782"/>
                  <a:pt x="419" y="1801"/>
                </a:cubicBezTo>
                <a:cubicBezTo>
                  <a:pt x="419" y="1820"/>
                  <a:pt x="404" y="1836"/>
                  <a:pt x="384" y="1836"/>
                </a:cubicBezTo>
                <a:close/>
                <a:moveTo>
                  <a:pt x="1770" y="1413"/>
                </a:moveTo>
                <a:cubicBezTo>
                  <a:pt x="1643" y="1413"/>
                  <a:pt x="1643" y="1413"/>
                  <a:pt x="1643" y="1413"/>
                </a:cubicBezTo>
                <a:cubicBezTo>
                  <a:pt x="1643" y="1329"/>
                  <a:pt x="1643" y="1329"/>
                  <a:pt x="1643" y="1329"/>
                </a:cubicBezTo>
                <a:cubicBezTo>
                  <a:pt x="1643" y="1203"/>
                  <a:pt x="1541" y="1101"/>
                  <a:pt x="1415" y="1101"/>
                </a:cubicBezTo>
                <a:cubicBezTo>
                  <a:pt x="1082" y="1101"/>
                  <a:pt x="1082" y="1101"/>
                  <a:pt x="1082" y="1101"/>
                </a:cubicBezTo>
                <a:cubicBezTo>
                  <a:pt x="1085" y="1112"/>
                  <a:pt x="1086" y="1124"/>
                  <a:pt x="1086" y="1136"/>
                </a:cubicBezTo>
                <a:cubicBezTo>
                  <a:pt x="1086" y="1148"/>
                  <a:pt x="1085" y="1159"/>
                  <a:pt x="1082" y="1171"/>
                </a:cubicBezTo>
                <a:cubicBezTo>
                  <a:pt x="1415" y="1171"/>
                  <a:pt x="1415" y="1171"/>
                  <a:pt x="1415" y="1171"/>
                </a:cubicBezTo>
                <a:cubicBezTo>
                  <a:pt x="1503" y="1171"/>
                  <a:pt x="1574" y="1242"/>
                  <a:pt x="1574" y="1329"/>
                </a:cubicBezTo>
                <a:cubicBezTo>
                  <a:pt x="1574" y="1413"/>
                  <a:pt x="1574" y="1413"/>
                  <a:pt x="1574" y="1413"/>
                </a:cubicBezTo>
                <a:cubicBezTo>
                  <a:pt x="1417" y="1413"/>
                  <a:pt x="1417" y="1413"/>
                  <a:pt x="1417" y="1413"/>
                </a:cubicBezTo>
                <a:cubicBezTo>
                  <a:pt x="1382" y="1413"/>
                  <a:pt x="1354" y="1441"/>
                  <a:pt x="1354" y="1476"/>
                </a:cubicBezTo>
                <a:cubicBezTo>
                  <a:pt x="1354" y="2162"/>
                  <a:pt x="1354" y="2162"/>
                  <a:pt x="1354" y="2162"/>
                </a:cubicBezTo>
                <a:cubicBezTo>
                  <a:pt x="1354" y="2197"/>
                  <a:pt x="1382" y="2225"/>
                  <a:pt x="1417" y="2225"/>
                </a:cubicBezTo>
                <a:cubicBezTo>
                  <a:pt x="1770" y="2225"/>
                  <a:pt x="1770" y="2225"/>
                  <a:pt x="1770" y="2225"/>
                </a:cubicBezTo>
                <a:cubicBezTo>
                  <a:pt x="1805" y="2225"/>
                  <a:pt x="1833" y="2197"/>
                  <a:pt x="1833" y="2162"/>
                </a:cubicBezTo>
                <a:cubicBezTo>
                  <a:pt x="1833" y="1476"/>
                  <a:pt x="1833" y="1476"/>
                  <a:pt x="1833" y="1476"/>
                </a:cubicBezTo>
                <a:cubicBezTo>
                  <a:pt x="1833" y="1441"/>
                  <a:pt x="1805" y="1413"/>
                  <a:pt x="1770" y="1413"/>
                </a:cubicBezTo>
                <a:close/>
                <a:moveTo>
                  <a:pt x="1748" y="2089"/>
                </a:moveTo>
                <a:cubicBezTo>
                  <a:pt x="1462" y="2089"/>
                  <a:pt x="1462" y="2089"/>
                  <a:pt x="1462" y="2089"/>
                </a:cubicBezTo>
                <a:cubicBezTo>
                  <a:pt x="1448" y="2089"/>
                  <a:pt x="1437" y="2078"/>
                  <a:pt x="1437" y="2064"/>
                </a:cubicBezTo>
                <a:cubicBezTo>
                  <a:pt x="1437" y="2050"/>
                  <a:pt x="1448" y="2039"/>
                  <a:pt x="1462" y="2039"/>
                </a:cubicBezTo>
                <a:cubicBezTo>
                  <a:pt x="1748" y="2039"/>
                  <a:pt x="1748" y="2039"/>
                  <a:pt x="1748" y="2039"/>
                </a:cubicBezTo>
                <a:cubicBezTo>
                  <a:pt x="1762" y="2039"/>
                  <a:pt x="1773" y="2050"/>
                  <a:pt x="1773" y="2064"/>
                </a:cubicBezTo>
                <a:cubicBezTo>
                  <a:pt x="1773" y="2078"/>
                  <a:pt x="1762" y="2089"/>
                  <a:pt x="1748" y="2089"/>
                </a:cubicBezTo>
                <a:close/>
                <a:moveTo>
                  <a:pt x="1748" y="1974"/>
                </a:moveTo>
                <a:cubicBezTo>
                  <a:pt x="1462" y="1974"/>
                  <a:pt x="1462" y="1974"/>
                  <a:pt x="1462" y="1974"/>
                </a:cubicBezTo>
                <a:cubicBezTo>
                  <a:pt x="1448" y="1974"/>
                  <a:pt x="1437" y="1963"/>
                  <a:pt x="1437" y="1949"/>
                </a:cubicBezTo>
                <a:cubicBezTo>
                  <a:pt x="1437" y="1935"/>
                  <a:pt x="1448" y="1924"/>
                  <a:pt x="1462" y="1924"/>
                </a:cubicBezTo>
                <a:cubicBezTo>
                  <a:pt x="1748" y="1924"/>
                  <a:pt x="1748" y="1924"/>
                  <a:pt x="1748" y="1924"/>
                </a:cubicBezTo>
                <a:cubicBezTo>
                  <a:pt x="1762" y="1924"/>
                  <a:pt x="1773" y="1935"/>
                  <a:pt x="1773" y="1949"/>
                </a:cubicBezTo>
                <a:cubicBezTo>
                  <a:pt x="1773" y="1963"/>
                  <a:pt x="1762" y="1974"/>
                  <a:pt x="1748" y="1974"/>
                </a:cubicBezTo>
                <a:close/>
                <a:moveTo>
                  <a:pt x="1738" y="1836"/>
                </a:moveTo>
                <a:cubicBezTo>
                  <a:pt x="1719" y="1836"/>
                  <a:pt x="1703" y="1820"/>
                  <a:pt x="1703" y="1801"/>
                </a:cubicBezTo>
                <a:cubicBezTo>
                  <a:pt x="1703" y="1782"/>
                  <a:pt x="1719" y="1766"/>
                  <a:pt x="1738" y="1766"/>
                </a:cubicBezTo>
                <a:cubicBezTo>
                  <a:pt x="1757" y="1766"/>
                  <a:pt x="1773" y="1782"/>
                  <a:pt x="1773" y="1801"/>
                </a:cubicBezTo>
                <a:cubicBezTo>
                  <a:pt x="1773" y="1820"/>
                  <a:pt x="1757" y="1836"/>
                  <a:pt x="1738" y="1836"/>
                </a:cubicBezTo>
                <a:close/>
                <a:moveTo>
                  <a:pt x="650" y="592"/>
                </a:moveTo>
                <a:cubicBezTo>
                  <a:pt x="1184" y="592"/>
                  <a:pt x="1184" y="592"/>
                  <a:pt x="1184" y="592"/>
                </a:cubicBezTo>
                <a:cubicBezTo>
                  <a:pt x="1246" y="592"/>
                  <a:pt x="1296" y="541"/>
                  <a:pt x="1296" y="479"/>
                </a:cubicBezTo>
                <a:cubicBezTo>
                  <a:pt x="1296" y="113"/>
                  <a:pt x="1296" y="113"/>
                  <a:pt x="1296" y="113"/>
                </a:cubicBezTo>
                <a:cubicBezTo>
                  <a:pt x="1296" y="51"/>
                  <a:pt x="1246" y="0"/>
                  <a:pt x="1184" y="0"/>
                </a:cubicBezTo>
                <a:cubicBezTo>
                  <a:pt x="650" y="0"/>
                  <a:pt x="650" y="0"/>
                  <a:pt x="650" y="0"/>
                </a:cubicBezTo>
                <a:cubicBezTo>
                  <a:pt x="588" y="0"/>
                  <a:pt x="537" y="51"/>
                  <a:pt x="537" y="113"/>
                </a:cubicBezTo>
                <a:cubicBezTo>
                  <a:pt x="537" y="479"/>
                  <a:pt x="537" y="479"/>
                  <a:pt x="537" y="479"/>
                </a:cubicBezTo>
                <a:cubicBezTo>
                  <a:pt x="537" y="541"/>
                  <a:pt x="588" y="592"/>
                  <a:pt x="650" y="592"/>
                </a:cubicBezTo>
                <a:close/>
                <a:moveTo>
                  <a:pt x="603" y="113"/>
                </a:moveTo>
                <a:cubicBezTo>
                  <a:pt x="603" y="87"/>
                  <a:pt x="624" y="66"/>
                  <a:pt x="650" y="66"/>
                </a:cubicBezTo>
                <a:cubicBezTo>
                  <a:pt x="1184" y="66"/>
                  <a:pt x="1184" y="66"/>
                  <a:pt x="1184" y="66"/>
                </a:cubicBezTo>
                <a:cubicBezTo>
                  <a:pt x="1210" y="66"/>
                  <a:pt x="1231" y="87"/>
                  <a:pt x="1231" y="113"/>
                </a:cubicBezTo>
                <a:cubicBezTo>
                  <a:pt x="1231" y="479"/>
                  <a:pt x="1231" y="479"/>
                  <a:pt x="1231" y="479"/>
                </a:cubicBezTo>
                <a:cubicBezTo>
                  <a:pt x="1231" y="505"/>
                  <a:pt x="1210" y="526"/>
                  <a:pt x="1184" y="526"/>
                </a:cubicBezTo>
                <a:cubicBezTo>
                  <a:pt x="650" y="526"/>
                  <a:pt x="650" y="526"/>
                  <a:pt x="650" y="526"/>
                </a:cubicBezTo>
                <a:cubicBezTo>
                  <a:pt x="624" y="526"/>
                  <a:pt x="603" y="505"/>
                  <a:pt x="603" y="479"/>
                </a:cubicBezTo>
                <a:lnTo>
                  <a:pt x="603" y="113"/>
                </a:lnTo>
                <a:close/>
                <a:moveTo>
                  <a:pt x="405" y="902"/>
                </a:moveTo>
                <a:cubicBezTo>
                  <a:pt x="882" y="902"/>
                  <a:pt x="882" y="902"/>
                  <a:pt x="882" y="902"/>
                </a:cubicBezTo>
                <a:cubicBezTo>
                  <a:pt x="882" y="1021"/>
                  <a:pt x="882" y="1021"/>
                  <a:pt x="882" y="1021"/>
                </a:cubicBezTo>
                <a:cubicBezTo>
                  <a:pt x="844" y="1033"/>
                  <a:pt x="814" y="1063"/>
                  <a:pt x="803" y="1101"/>
                </a:cubicBezTo>
                <a:cubicBezTo>
                  <a:pt x="799" y="1112"/>
                  <a:pt x="797" y="1124"/>
                  <a:pt x="797" y="1136"/>
                </a:cubicBezTo>
                <a:cubicBezTo>
                  <a:pt x="797" y="1148"/>
                  <a:pt x="799" y="1160"/>
                  <a:pt x="803" y="1171"/>
                </a:cubicBezTo>
                <a:cubicBezTo>
                  <a:pt x="814" y="1209"/>
                  <a:pt x="844" y="1238"/>
                  <a:pt x="882" y="1250"/>
                </a:cubicBezTo>
                <a:cubicBezTo>
                  <a:pt x="893" y="1253"/>
                  <a:pt x="905" y="1255"/>
                  <a:pt x="917" y="1255"/>
                </a:cubicBezTo>
                <a:cubicBezTo>
                  <a:pt x="929" y="1255"/>
                  <a:pt x="941" y="1253"/>
                  <a:pt x="952" y="1250"/>
                </a:cubicBezTo>
                <a:cubicBezTo>
                  <a:pt x="990" y="1238"/>
                  <a:pt x="1020" y="1209"/>
                  <a:pt x="1031" y="1171"/>
                </a:cubicBezTo>
                <a:cubicBezTo>
                  <a:pt x="1034" y="1160"/>
                  <a:pt x="1036" y="1148"/>
                  <a:pt x="1036" y="1136"/>
                </a:cubicBezTo>
                <a:cubicBezTo>
                  <a:pt x="1036" y="1124"/>
                  <a:pt x="1034" y="1112"/>
                  <a:pt x="1031" y="1101"/>
                </a:cubicBezTo>
                <a:cubicBezTo>
                  <a:pt x="1019" y="1063"/>
                  <a:pt x="990" y="1033"/>
                  <a:pt x="952" y="1021"/>
                </a:cubicBezTo>
                <a:cubicBezTo>
                  <a:pt x="952" y="902"/>
                  <a:pt x="952" y="902"/>
                  <a:pt x="952" y="902"/>
                </a:cubicBezTo>
                <a:cubicBezTo>
                  <a:pt x="1429" y="902"/>
                  <a:pt x="1429" y="902"/>
                  <a:pt x="1429" y="902"/>
                </a:cubicBezTo>
                <a:cubicBezTo>
                  <a:pt x="1444" y="902"/>
                  <a:pt x="1457" y="889"/>
                  <a:pt x="1457" y="874"/>
                </a:cubicBezTo>
                <a:cubicBezTo>
                  <a:pt x="1457" y="861"/>
                  <a:pt x="1457" y="861"/>
                  <a:pt x="1457" y="861"/>
                </a:cubicBezTo>
                <a:cubicBezTo>
                  <a:pt x="1457" y="845"/>
                  <a:pt x="1449" y="823"/>
                  <a:pt x="1439" y="811"/>
                </a:cubicBezTo>
                <a:cubicBezTo>
                  <a:pt x="1303" y="652"/>
                  <a:pt x="1303" y="652"/>
                  <a:pt x="1303" y="652"/>
                </a:cubicBezTo>
                <a:cubicBezTo>
                  <a:pt x="1293" y="640"/>
                  <a:pt x="1273" y="631"/>
                  <a:pt x="1257" y="631"/>
                </a:cubicBezTo>
                <a:cubicBezTo>
                  <a:pt x="577" y="631"/>
                  <a:pt x="577" y="631"/>
                  <a:pt x="577" y="631"/>
                </a:cubicBezTo>
                <a:cubicBezTo>
                  <a:pt x="561" y="631"/>
                  <a:pt x="540" y="640"/>
                  <a:pt x="530" y="652"/>
                </a:cubicBezTo>
                <a:cubicBezTo>
                  <a:pt x="395" y="811"/>
                  <a:pt x="395" y="811"/>
                  <a:pt x="395" y="811"/>
                </a:cubicBezTo>
                <a:cubicBezTo>
                  <a:pt x="385" y="823"/>
                  <a:pt x="377" y="845"/>
                  <a:pt x="377" y="861"/>
                </a:cubicBezTo>
                <a:cubicBezTo>
                  <a:pt x="377" y="874"/>
                  <a:pt x="377" y="874"/>
                  <a:pt x="377" y="874"/>
                </a:cubicBezTo>
                <a:cubicBezTo>
                  <a:pt x="377" y="889"/>
                  <a:pt x="389" y="902"/>
                  <a:pt x="405" y="90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4928654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ppt_x"/>
                                          </p:val>
                                        </p:tav>
                                        <p:tav tm="100000">
                                          <p:val>
                                            <p:strVal val="#ppt_x"/>
                                          </p:val>
                                        </p:tav>
                                      </p:tavLst>
                                    </p:anim>
                                    <p:anim calcmode="lin" valueType="num">
                                      <p:cBhvr additive="base">
                                        <p:cTn id="8" dur="500" fill="hold"/>
                                        <p:tgtEl>
                                          <p:spTgt spid="7"/>
                                        </p:tgtEl>
                                        <p:attrNameLst>
                                          <p:attrName>ppt_y</p:attrName>
                                        </p:attrNameLst>
                                      </p:cBhvr>
                                      <p:tavLst>
                                        <p:tav tm="0">
                                          <p:val>
                                            <p:strVal val="1+#ppt_h/2"/>
                                          </p:val>
                                        </p:tav>
                                        <p:tav tm="100000">
                                          <p:val>
                                            <p:strVal val="#ppt_y"/>
                                          </p:val>
                                        </p:tav>
                                      </p:tavLst>
                                    </p:anim>
                                  </p:childTnLst>
                                </p:cTn>
                              </p:par>
                              <p:par>
                                <p:cTn id="9" presetID="2" presetClass="entr" presetSubtype="4" decel="100000" fill="hold" grpId="0" nodeType="withEffect">
                                  <p:stCondLst>
                                    <p:cond delay="250"/>
                                  </p:stCondLst>
                                  <p:childTnLst>
                                    <p:set>
                                      <p:cBhvr>
                                        <p:cTn id="10" dur="1" fill="hold">
                                          <p:stCondLst>
                                            <p:cond delay="0"/>
                                          </p:stCondLst>
                                        </p:cTn>
                                        <p:tgtEl>
                                          <p:spTgt spid="9"/>
                                        </p:tgtEl>
                                        <p:attrNameLst>
                                          <p:attrName>style.visibility</p:attrName>
                                        </p:attrNameLst>
                                      </p:cBhvr>
                                      <p:to>
                                        <p:strVal val="visible"/>
                                      </p:to>
                                    </p:set>
                                    <p:anim calcmode="lin" valueType="num">
                                      <p:cBhvr additive="base">
                                        <p:cTn id="11" dur="500" fill="hold"/>
                                        <p:tgtEl>
                                          <p:spTgt spid="9"/>
                                        </p:tgtEl>
                                        <p:attrNameLst>
                                          <p:attrName>ppt_x</p:attrName>
                                        </p:attrNameLst>
                                      </p:cBhvr>
                                      <p:tavLst>
                                        <p:tav tm="0">
                                          <p:val>
                                            <p:strVal val="#ppt_x"/>
                                          </p:val>
                                        </p:tav>
                                        <p:tav tm="100000">
                                          <p:val>
                                            <p:strVal val="#ppt_x"/>
                                          </p:val>
                                        </p:tav>
                                      </p:tavLst>
                                    </p:anim>
                                    <p:anim calcmode="lin" valueType="num">
                                      <p:cBhvr additive="base">
                                        <p:cTn id="12" dur="500" fill="hold"/>
                                        <p:tgtEl>
                                          <p:spTgt spid="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9"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nvSpPr>
        <p:spPr bwMode="auto">
          <a:xfrm>
            <a:off x="0" y="1158339"/>
            <a:ext cx="12188825" cy="3967098"/>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 name="Title 2"/>
          <p:cNvSpPr>
            <a:spLocks noGrp="1"/>
          </p:cNvSpPr>
          <p:nvPr>
            <p:ph type="title"/>
          </p:nvPr>
        </p:nvSpPr>
        <p:spPr>
          <a:xfrm>
            <a:off x="519112" y="228600"/>
            <a:ext cx="11149013" cy="664797"/>
          </a:xfrm>
        </p:spPr>
        <p:txBody>
          <a:bodyPr/>
          <a:lstStyle/>
          <a:p>
            <a:r>
              <a:rPr lang="en-US" sz="4800" dirty="0" smtClean="0"/>
              <a:t>Posting Data to a Web API</a:t>
            </a:r>
            <a:endParaRPr lang="en-US" sz="4800" dirty="0"/>
          </a:p>
        </p:txBody>
      </p:sp>
      <p:sp>
        <p:nvSpPr>
          <p:cNvPr id="5" name="TextBox 4"/>
          <p:cNvSpPr txBox="1"/>
          <p:nvPr/>
        </p:nvSpPr>
        <p:spPr>
          <a:xfrm>
            <a:off x="4172603" y="1155118"/>
            <a:ext cx="7598978" cy="3970318"/>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a:solidFill>
                  <a:schemeClr val="lt1">
                    <a:alpha val="99000"/>
                  </a:schemeClr>
                </a:solidFill>
                <a:latin typeface="Consolas" pitchFamily="49" charset="0"/>
                <a:cs typeface="Consolas" pitchFamily="49" charset="0"/>
              </a:rPr>
              <a:t>public </a:t>
            </a:r>
            <a:r>
              <a:rPr lang="en-US" sz="1400" dirty="0" err="1">
                <a:solidFill>
                  <a:schemeClr val="lt1">
                    <a:alpha val="99000"/>
                  </a:schemeClr>
                </a:solidFill>
                <a:latin typeface="Consolas" pitchFamily="49" charset="0"/>
                <a:cs typeface="Consolas" pitchFamily="49" charset="0"/>
              </a:rPr>
              <a:t>HttpResponseMessage</a:t>
            </a:r>
            <a:r>
              <a:rPr lang="en-US" sz="1400" dirty="0">
                <a:solidFill>
                  <a:schemeClr val="lt1">
                    <a:alpha val="99000"/>
                  </a:schemeClr>
                </a:solidFill>
                <a:latin typeface="Consolas" pitchFamily="49" charset="0"/>
                <a:cs typeface="Consolas" pitchFamily="49" charset="0"/>
              </a:rPr>
              <a:t> Post(Person person)</a:t>
            </a:r>
          </a:p>
          <a:p>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a:t>
            </a:r>
            <a:r>
              <a:rPr lang="en-US" sz="1400" dirty="0" err="1">
                <a:solidFill>
                  <a:schemeClr val="lt1">
                    <a:alpha val="99000"/>
                  </a:schemeClr>
                </a:solidFill>
                <a:latin typeface="Consolas" pitchFamily="49" charset="0"/>
                <a:cs typeface="Consolas" pitchFamily="49" charset="0"/>
              </a:rPr>
              <a:t>person.Id</a:t>
            </a:r>
            <a:r>
              <a:rPr lang="en-US" sz="1400" dirty="0">
                <a:solidFill>
                  <a:schemeClr val="lt1">
                    <a:alpha val="99000"/>
                  </a:schemeClr>
                </a:solidFill>
                <a:latin typeface="Consolas" pitchFamily="49" charset="0"/>
                <a:cs typeface="Consolas" pitchFamily="49" charset="0"/>
              </a:rPr>
              <a:t> = _</a:t>
            </a:r>
            <a:r>
              <a:rPr lang="en-US" sz="1400" dirty="0" err="1">
                <a:solidFill>
                  <a:schemeClr val="lt1">
                    <a:alpha val="99000"/>
                  </a:schemeClr>
                </a:solidFill>
                <a:latin typeface="Consolas" pitchFamily="49" charset="0"/>
                <a:cs typeface="Consolas" pitchFamily="49" charset="0"/>
              </a:rPr>
              <a:t>people.Count</a:t>
            </a:r>
            <a:r>
              <a:rPr lang="en-US" sz="1400" dirty="0">
                <a:solidFill>
                  <a:schemeClr val="lt1">
                    <a:alpha val="99000"/>
                  </a:schemeClr>
                </a:solidFill>
                <a:latin typeface="Consolas" pitchFamily="49" charset="0"/>
                <a:cs typeface="Consolas" pitchFamily="49" charset="0"/>
              </a:rPr>
              <a:t> + 1;</a:t>
            </a:r>
          </a:p>
          <a:p>
            <a:endParaRPr lang="en-US" sz="1400" dirty="0">
              <a:solidFill>
                <a:schemeClr val="lt1">
                  <a:alpha val="99000"/>
                </a:schemeClr>
              </a:solidFill>
              <a:latin typeface="Consolas" pitchFamily="49" charset="0"/>
              <a:cs typeface="Consolas" pitchFamily="49" charset="0"/>
            </a:endParaRPr>
          </a:p>
          <a:p>
            <a:r>
              <a:rPr lang="en-US" sz="1400" dirty="0">
                <a:solidFill>
                  <a:schemeClr val="lt1">
                    <a:alpha val="99000"/>
                  </a:schemeClr>
                </a:solidFill>
                <a:latin typeface="Consolas" pitchFamily="49" charset="0"/>
                <a:cs typeface="Consolas" pitchFamily="49" charset="0"/>
              </a:rPr>
              <a:t>    if (_</a:t>
            </a:r>
            <a:r>
              <a:rPr lang="en-US" sz="1400" dirty="0" err="1">
                <a:solidFill>
                  <a:schemeClr val="lt1">
                    <a:alpha val="99000"/>
                  </a:schemeClr>
                </a:solidFill>
                <a:latin typeface="Consolas" pitchFamily="49" charset="0"/>
                <a:cs typeface="Consolas" pitchFamily="49" charset="0"/>
              </a:rPr>
              <a:t>people.Any</a:t>
            </a:r>
            <a:r>
              <a:rPr lang="en-US" sz="1400" dirty="0">
                <a:solidFill>
                  <a:schemeClr val="lt1">
                    <a:alpha val="99000"/>
                  </a:schemeClr>
                </a:solidFill>
                <a:latin typeface="Consolas" pitchFamily="49" charset="0"/>
                <a:cs typeface="Consolas" pitchFamily="49" charset="0"/>
              </a:rPr>
              <a:t>(x =&gt; </a:t>
            </a:r>
            <a:r>
              <a:rPr lang="en-US" sz="1400" dirty="0" err="1">
                <a:solidFill>
                  <a:schemeClr val="lt1">
                    <a:alpha val="99000"/>
                  </a:schemeClr>
                </a:solidFill>
                <a:latin typeface="Consolas" pitchFamily="49" charset="0"/>
                <a:cs typeface="Consolas" pitchFamily="49" charset="0"/>
              </a:rPr>
              <a:t>x.Id</a:t>
            </a:r>
            <a:r>
              <a:rPr lang="en-US" sz="1400" dirty="0">
                <a:solidFill>
                  <a:schemeClr val="lt1">
                    <a:alpha val="99000"/>
                  </a:schemeClr>
                </a:solidFill>
                <a:latin typeface="Consolas" pitchFamily="49" charset="0"/>
                <a:cs typeface="Consolas" pitchFamily="49" charset="0"/>
              </a:rPr>
              <a:t> == </a:t>
            </a:r>
            <a:r>
              <a:rPr lang="en-US" sz="1400" dirty="0" err="1">
                <a:solidFill>
                  <a:schemeClr val="lt1">
                    <a:alpha val="99000"/>
                  </a:schemeClr>
                </a:solidFill>
                <a:latin typeface="Consolas" pitchFamily="49" charset="0"/>
                <a:cs typeface="Consolas" pitchFamily="49" charset="0"/>
              </a:rPr>
              <a:t>person.Id</a:t>
            </a:r>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return new </a:t>
            </a:r>
            <a:r>
              <a:rPr lang="en-US" sz="1400" dirty="0" err="1">
                <a:solidFill>
                  <a:schemeClr val="lt1">
                    <a:alpha val="99000"/>
                  </a:schemeClr>
                </a:solidFill>
                <a:latin typeface="Consolas" pitchFamily="49" charset="0"/>
                <a:cs typeface="Consolas" pitchFamily="49" charset="0"/>
              </a:rPr>
              <a:t>HttpResponseMessage</a:t>
            </a:r>
            <a:r>
              <a:rPr lang="en-US" sz="1400" dirty="0">
                <a:solidFill>
                  <a:schemeClr val="lt1">
                    <a:alpha val="99000"/>
                  </a:schemeClr>
                </a:solidFill>
                <a:latin typeface="Consolas" pitchFamily="49" charset="0"/>
                <a:cs typeface="Consolas" pitchFamily="49" charset="0"/>
              </a:rPr>
              <a:t>(</a:t>
            </a:r>
            <a:r>
              <a:rPr lang="en-US" sz="1400" dirty="0" err="1">
                <a:solidFill>
                  <a:schemeClr val="lt1">
                    <a:alpha val="99000"/>
                  </a:schemeClr>
                </a:solidFill>
                <a:latin typeface="Consolas" pitchFamily="49" charset="0"/>
                <a:cs typeface="Consolas" pitchFamily="49" charset="0"/>
              </a:rPr>
              <a:t>HttpStatusCode.BadRequest</a:t>
            </a:r>
            <a:r>
              <a:rPr lang="en-US" sz="1400" dirty="0">
                <a:solidFill>
                  <a:schemeClr val="lt1">
                    <a:alpha val="99000"/>
                  </a:schemeClr>
                </a:solidFill>
                <a:latin typeface="Consolas" pitchFamily="49" charset="0"/>
                <a:cs typeface="Consolas" pitchFamily="49" charset="0"/>
              </a:rPr>
              <a:t>);</a:t>
            </a:r>
          </a:p>
          <a:p>
            <a:endParaRPr lang="en-US" sz="1400" dirty="0">
              <a:solidFill>
                <a:schemeClr val="lt1">
                  <a:alpha val="99000"/>
                </a:schemeClr>
              </a:solidFill>
              <a:latin typeface="Consolas" pitchFamily="49" charset="0"/>
              <a:cs typeface="Consolas" pitchFamily="49" charset="0"/>
            </a:endParaRPr>
          </a:p>
          <a:p>
            <a:r>
              <a:rPr lang="en-US" sz="1400" dirty="0">
                <a:solidFill>
                  <a:schemeClr val="lt1">
                    <a:alpha val="99000"/>
                  </a:schemeClr>
                </a:solidFill>
                <a:latin typeface="Consolas" pitchFamily="49" charset="0"/>
                <a:cs typeface="Consolas" pitchFamily="49" charset="0"/>
              </a:rPr>
              <a:t>    try</a:t>
            </a:r>
          </a:p>
          <a:p>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        _</a:t>
            </a:r>
            <a:r>
              <a:rPr lang="en-US" sz="1400" dirty="0" err="1">
                <a:solidFill>
                  <a:schemeClr val="lt1">
                    <a:alpha val="99000"/>
                  </a:schemeClr>
                </a:solidFill>
                <a:latin typeface="Consolas" pitchFamily="49" charset="0"/>
                <a:cs typeface="Consolas" pitchFamily="49" charset="0"/>
              </a:rPr>
              <a:t>people.Add</a:t>
            </a:r>
            <a:r>
              <a:rPr lang="en-US" sz="1400" dirty="0">
                <a:solidFill>
                  <a:schemeClr val="lt1">
                    <a:alpha val="99000"/>
                  </a:schemeClr>
                </a:solidFill>
                <a:latin typeface="Consolas" pitchFamily="49" charset="0"/>
                <a:cs typeface="Consolas" pitchFamily="49" charset="0"/>
              </a:rPr>
              <a:t>(person);</a:t>
            </a:r>
          </a:p>
          <a:p>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    catch</a:t>
            </a:r>
          </a:p>
          <a:p>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        return new </a:t>
            </a:r>
            <a:r>
              <a:rPr lang="en-US" sz="1400" dirty="0" err="1">
                <a:solidFill>
                  <a:schemeClr val="lt1">
                    <a:alpha val="99000"/>
                  </a:schemeClr>
                </a:solidFill>
                <a:latin typeface="Consolas" pitchFamily="49" charset="0"/>
                <a:cs typeface="Consolas" pitchFamily="49" charset="0"/>
              </a:rPr>
              <a:t>HttpResponseMessage</a:t>
            </a:r>
            <a:r>
              <a:rPr lang="en-US" sz="1400" dirty="0">
                <a:solidFill>
                  <a:schemeClr val="lt1">
                    <a:alpha val="99000"/>
                  </a:schemeClr>
                </a:solidFill>
                <a:latin typeface="Consolas" pitchFamily="49" charset="0"/>
                <a:cs typeface="Consolas" pitchFamily="49" charset="0"/>
              </a:rPr>
              <a:t>(</a:t>
            </a:r>
            <a:r>
              <a:rPr lang="en-US" sz="1400" dirty="0" err="1">
                <a:solidFill>
                  <a:schemeClr val="lt1">
                    <a:alpha val="99000"/>
                  </a:schemeClr>
                </a:solidFill>
                <a:latin typeface="Consolas" pitchFamily="49" charset="0"/>
                <a:cs typeface="Consolas" pitchFamily="49" charset="0"/>
              </a:rPr>
              <a:t>HttpStatusCode.BadRequest</a:t>
            </a:r>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a:t>
            </a:r>
          </a:p>
          <a:p>
            <a:endParaRPr lang="en-US" sz="1400" dirty="0">
              <a:solidFill>
                <a:schemeClr val="lt1">
                  <a:alpha val="99000"/>
                </a:schemeClr>
              </a:solidFill>
              <a:latin typeface="Consolas" pitchFamily="49" charset="0"/>
              <a:cs typeface="Consolas" pitchFamily="49" charset="0"/>
            </a:endParaRPr>
          </a:p>
          <a:p>
            <a:r>
              <a:rPr lang="en-US" sz="1400" dirty="0">
                <a:solidFill>
                  <a:schemeClr val="lt1">
                    <a:alpha val="99000"/>
                  </a:schemeClr>
                </a:solidFill>
                <a:latin typeface="Consolas" pitchFamily="49" charset="0"/>
                <a:cs typeface="Consolas" pitchFamily="49" charset="0"/>
              </a:rPr>
              <a:t>    return new </a:t>
            </a:r>
            <a:r>
              <a:rPr lang="en-US" sz="1400" dirty="0" err="1">
                <a:solidFill>
                  <a:schemeClr val="lt1">
                    <a:alpha val="99000"/>
                  </a:schemeClr>
                </a:solidFill>
                <a:latin typeface="Consolas" pitchFamily="49" charset="0"/>
                <a:cs typeface="Consolas" pitchFamily="49" charset="0"/>
              </a:rPr>
              <a:t>HttpResponseMessage</a:t>
            </a:r>
            <a:r>
              <a:rPr lang="en-US" sz="1400" dirty="0">
                <a:solidFill>
                  <a:schemeClr val="lt1">
                    <a:alpha val="99000"/>
                  </a:schemeClr>
                </a:solidFill>
                <a:latin typeface="Consolas" pitchFamily="49" charset="0"/>
                <a:cs typeface="Consolas" pitchFamily="49" charset="0"/>
              </a:rPr>
              <a:t>(</a:t>
            </a:r>
            <a:r>
              <a:rPr lang="en-US" sz="1400" dirty="0" err="1">
                <a:solidFill>
                  <a:schemeClr val="lt1">
                    <a:alpha val="99000"/>
                  </a:schemeClr>
                </a:solidFill>
                <a:latin typeface="Consolas" pitchFamily="49" charset="0"/>
                <a:cs typeface="Consolas" pitchFamily="49" charset="0"/>
              </a:rPr>
              <a:t>HttpStatusCode.OK</a:t>
            </a:r>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a:t>
            </a:r>
            <a:endParaRPr lang="en-US" sz="1400" dirty="0" smtClean="0">
              <a:solidFill>
                <a:schemeClr val="lt1">
                  <a:alpha val="99000"/>
                </a:schemeClr>
              </a:solidFill>
              <a:latin typeface="Consolas" pitchFamily="49" charset="0"/>
              <a:cs typeface="Consolas" pitchFamily="49" charset="0"/>
            </a:endParaRPr>
          </a:p>
        </p:txBody>
      </p:sp>
      <p:sp>
        <p:nvSpPr>
          <p:cNvPr id="8" name="Rectangle 7"/>
          <p:cNvSpPr/>
          <p:nvPr/>
        </p:nvSpPr>
        <p:spPr>
          <a:xfrm>
            <a:off x="433839" y="1158338"/>
            <a:ext cx="3427926" cy="1077218"/>
          </a:xfrm>
          <a:prstGeom prst="rect">
            <a:avLst/>
          </a:prstGeom>
        </p:spPr>
        <p:txBody>
          <a:bodyPr wrap="none">
            <a:spAutoFit/>
          </a:bodyPr>
          <a:lstStyle/>
          <a:p>
            <a:r>
              <a:rPr lang="en-US" sz="4000" dirty="0" smtClean="0">
                <a:solidFill>
                  <a:schemeClr val="accent2">
                    <a:alpha val="99000"/>
                  </a:schemeClr>
                </a:solidFill>
                <a:latin typeface="Segoe UI Light" pitchFamily="34" charset="0"/>
              </a:rPr>
              <a:t>Use HTTP Post:</a:t>
            </a:r>
            <a:endParaRPr lang="en-US" sz="4000" dirty="0">
              <a:solidFill>
                <a:schemeClr val="accent2">
                  <a:alpha val="99000"/>
                </a:schemeClr>
              </a:solidFill>
              <a:latin typeface="Segoe UI Light" pitchFamily="34" charset="0"/>
            </a:endParaRPr>
          </a:p>
          <a:p>
            <a:r>
              <a:rPr lang="en-US" dirty="0" smtClean="0">
                <a:solidFill>
                  <a:schemeClr val="tx2">
                    <a:alpha val="99000"/>
                  </a:schemeClr>
                </a:solidFill>
                <a:latin typeface="Segoe UI Light" pitchFamily="34" charset="0"/>
              </a:rPr>
              <a:t>Pass a Model</a:t>
            </a:r>
            <a:endParaRPr lang="en-US" dirty="0">
              <a:solidFill>
                <a:schemeClr val="tx2">
                  <a:alpha val="99000"/>
                </a:schemeClr>
              </a:solidFill>
              <a:latin typeface="Segoe UI Light" pitchFamily="34" charset="0"/>
            </a:endParaRPr>
          </a:p>
        </p:txBody>
      </p:sp>
    </p:spTree>
    <p:extLst>
      <p:ext uri="{BB962C8B-B14F-4D97-AF65-F5344CB8AC3E}">
        <p14:creationId xmlns:p14="http://schemas.microsoft.com/office/powerpoint/2010/main" val="2997891483"/>
      </p:ext>
    </p:extLst>
  </p:cSld>
  <p:clrMapOvr>
    <a:masterClrMapping/>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519112" y="228600"/>
            <a:ext cx="11149013" cy="664797"/>
          </a:xfrm>
        </p:spPr>
        <p:txBody>
          <a:bodyPr/>
          <a:lstStyle/>
          <a:p>
            <a:r>
              <a:rPr lang="en-US" sz="4800" dirty="0" smtClean="0"/>
              <a:t>Posting Data to a Web API</a:t>
            </a:r>
            <a:endParaRPr lang="en-US" sz="4800" dirty="0"/>
          </a:p>
        </p:txBody>
      </p:sp>
      <p:pic>
        <p:nvPicPr>
          <p:cNvPr id="65538" name="Picture 2" descr="C:\Users\bradyg\AppData\Local\Temp\SNAGHTML672ba3.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60686" y="1202171"/>
            <a:ext cx="6270350" cy="3716667"/>
          </a:xfrm>
          <a:prstGeom prst="rect">
            <a:avLst/>
          </a:prstGeom>
          <a:noFill/>
          <a:extLst>
            <a:ext uri="{909E8E84-426E-40DD-AFC4-6F175D3DCCD1}">
              <a14:hiddenFill xmlns:a14="http://schemas.microsoft.com/office/drawing/2010/main">
                <a:solidFill>
                  <a:srgbClr val="FFFFFF"/>
                </a:solidFill>
              </a14:hiddenFill>
            </a:ext>
          </a:extLst>
        </p:spPr>
      </p:pic>
      <p:pic>
        <p:nvPicPr>
          <p:cNvPr id="65539"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955569" y="5389344"/>
            <a:ext cx="7666038" cy="1019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5541" name="Picture 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788588" y="2399314"/>
            <a:ext cx="5191125" cy="22383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5542" name="Picture 6"/>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788588" y="1202171"/>
            <a:ext cx="5191125" cy="10477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Up Arrow 1"/>
          <p:cNvSpPr/>
          <p:nvPr/>
        </p:nvSpPr>
        <p:spPr bwMode="auto">
          <a:xfrm rot="7200000">
            <a:off x="2053338" y="5129019"/>
            <a:ext cx="893380" cy="706656"/>
          </a:xfrm>
          <a:prstGeom prst="upArrow">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2" name="Up Arrow 11"/>
          <p:cNvSpPr/>
          <p:nvPr/>
        </p:nvSpPr>
        <p:spPr bwMode="auto">
          <a:xfrm>
            <a:off x="8937460" y="4847431"/>
            <a:ext cx="893380" cy="706656"/>
          </a:xfrm>
          <a:prstGeom prst="upArrow">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196082182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5538"/>
                                        </p:tgtEl>
                                        <p:attrNameLst>
                                          <p:attrName>style.visibility</p:attrName>
                                        </p:attrNameLst>
                                      </p:cBhvr>
                                      <p:to>
                                        <p:strVal val="visible"/>
                                      </p:to>
                                    </p:set>
                                    <p:animEffect transition="in" filter="fade">
                                      <p:cBhvr>
                                        <p:cTn id="7" dur="500"/>
                                        <p:tgtEl>
                                          <p:spTgt spid="65538"/>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fade">
                                      <p:cBhvr>
                                        <p:cTn id="12" dur="500"/>
                                        <p:tgtEl>
                                          <p:spTgt spid="2"/>
                                        </p:tgtEl>
                                      </p:cBhvr>
                                    </p:animEffect>
                                  </p:childTnLst>
                                </p:cTn>
                              </p:par>
                              <p:par>
                                <p:cTn id="13" presetID="10" presetClass="entr" presetSubtype="0" fill="hold" nodeType="withEffect">
                                  <p:stCondLst>
                                    <p:cond delay="0"/>
                                  </p:stCondLst>
                                  <p:childTnLst>
                                    <p:set>
                                      <p:cBhvr>
                                        <p:cTn id="14" dur="1" fill="hold">
                                          <p:stCondLst>
                                            <p:cond delay="0"/>
                                          </p:stCondLst>
                                        </p:cTn>
                                        <p:tgtEl>
                                          <p:spTgt spid="65539"/>
                                        </p:tgtEl>
                                        <p:attrNameLst>
                                          <p:attrName>style.visibility</p:attrName>
                                        </p:attrNameLst>
                                      </p:cBhvr>
                                      <p:to>
                                        <p:strVal val="visible"/>
                                      </p:to>
                                    </p:set>
                                    <p:animEffect transition="in" filter="fade">
                                      <p:cBhvr>
                                        <p:cTn id="15" dur="500"/>
                                        <p:tgtEl>
                                          <p:spTgt spid="65539"/>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0"/>
                                  </p:stCondLst>
                                  <p:childTnLst>
                                    <p:set>
                                      <p:cBhvr>
                                        <p:cTn id="19" dur="1" fill="hold">
                                          <p:stCondLst>
                                            <p:cond delay="0"/>
                                          </p:stCondLst>
                                        </p:cTn>
                                        <p:tgtEl>
                                          <p:spTgt spid="12"/>
                                        </p:tgtEl>
                                        <p:attrNameLst>
                                          <p:attrName>style.visibility</p:attrName>
                                        </p:attrNameLst>
                                      </p:cBhvr>
                                      <p:to>
                                        <p:strVal val="visible"/>
                                      </p:to>
                                    </p:set>
                                    <p:animEffect transition="in" filter="fade">
                                      <p:cBhvr>
                                        <p:cTn id="20" dur="500"/>
                                        <p:tgtEl>
                                          <p:spTgt spid="12"/>
                                        </p:tgtEl>
                                      </p:cBhvr>
                                    </p:animEffect>
                                  </p:childTnLst>
                                </p:cTn>
                              </p:par>
                              <p:par>
                                <p:cTn id="21" presetID="10" presetClass="entr" presetSubtype="0" fill="hold" nodeType="withEffect">
                                  <p:stCondLst>
                                    <p:cond delay="0"/>
                                  </p:stCondLst>
                                  <p:childTnLst>
                                    <p:set>
                                      <p:cBhvr>
                                        <p:cTn id="22" dur="1" fill="hold">
                                          <p:stCondLst>
                                            <p:cond delay="0"/>
                                          </p:stCondLst>
                                        </p:cTn>
                                        <p:tgtEl>
                                          <p:spTgt spid="65541"/>
                                        </p:tgtEl>
                                        <p:attrNameLst>
                                          <p:attrName>style.visibility</p:attrName>
                                        </p:attrNameLst>
                                      </p:cBhvr>
                                      <p:to>
                                        <p:strVal val="visible"/>
                                      </p:to>
                                    </p:set>
                                    <p:animEffect transition="in" filter="fade">
                                      <p:cBhvr>
                                        <p:cTn id="23" dur="500"/>
                                        <p:tgtEl>
                                          <p:spTgt spid="65541"/>
                                        </p:tgtEl>
                                      </p:cBhvr>
                                    </p:animEffect>
                                  </p:childTnLst>
                                </p:cTn>
                              </p:par>
                              <p:par>
                                <p:cTn id="24" presetID="10" presetClass="entr" presetSubtype="0" fill="hold" nodeType="withEffect">
                                  <p:stCondLst>
                                    <p:cond delay="0"/>
                                  </p:stCondLst>
                                  <p:childTnLst>
                                    <p:set>
                                      <p:cBhvr>
                                        <p:cTn id="25" dur="1" fill="hold">
                                          <p:stCondLst>
                                            <p:cond delay="0"/>
                                          </p:stCondLst>
                                        </p:cTn>
                                        <p:tgtEl>
                                          <p:spTgt spid="65542"/>
                                        </p:tgtEl>
                                        <p:attrNameLst>
                                          <p:attrName>style.visibility</p:attrName>
                                        </p:attrNameLst>
                                      </p:cBhvr>
                                      <p:to>
                                        <p:strVal val="visible"/>
                                      </p:to>
                                    </p:set>
                                    <p:animEffect transition="in" filter="fade">
                                      <p:cBhvr>
                                        <p:cTn id="26" dur="500"/>
                                        <p:tgtEl>
                                          <p:spTgt spid="6554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12"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89413592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9470"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6" name="Title 5"/>
          <p:cNvSpPr>
            <a:spLocks noGrp="1"/>
          </p:cNvSpPr>
          <p:nvPr>
            <p:ph type="ctrTitle"/>
          </p:nvPr>
        </p:nvSpPr>
        <p:spPr>
          <a:xfrm>
            <a:off x="519113" y="2234114"/>
            <a:ext cx="9893248" cy="1359196"/>
          </a:xfrm>
        </p:spPr>
        <p:txBody>
          <a:bodyPr/>
          <a:lstStyle/>
          <a:p>
            <a:r>
              <a:rPr lang="en-US" dirty="0" smtClean="0"/>
              <a:t>Building a Service Layer </a:t>
            </a:r>
            <a:br>
              <a:rPr lang="en-US" dirty="0" smtClean="0"/>
            </a:br>
            <a:r>
              <a:rPr lang="en-US" dirty="0" smtClean="0"/>
              <a:t>with ASP.NET Web API</a:t>
            </a:r>
            <a:endParaRPr lang="en-US" dirty="0"/>
          </a:p>
        </p:txBody>
      </p:sp>
      <p:sp>
        <p:nvSpPr>
          <p:cNvPr id="7" name="Text Placeholder 6"/>
          <p:cNvSpPr>
            <a:spLocks noGrp="1"/>
          </p:cNvSpPr>
          <p:nvPr>
            <p:ph type="body" sz="quarter" idx="11"/>
          </p:nvPr>
        </p:nvSpPr>
        <p:spPr/>
        <p:txBody>
          <a:bodyPr/>
          <a:lstStyle/>
          <a:p>
            <a:r>
              <a:rPr lang="en-US" smtClean="0"/>
              <a:t>Name</a:t>
            </a:r>
          </a:p>
          <a:p>
            <a:r>
              <a:rPr lang="en-US" smtClean="0"/>
              <a:t>Title</a:t>
            </a:r>
          </a:p>
          <a:p>
            <a:r>
              <a:rPr lang="en-US" smtClean="0"/>
              <a:t>Microsoft Corporation</a:t>
            </a:r>
            <a:endParaRPr lang="en-US" dirty="0"/>
          </a:p>
        </p:txBody>
      </p:sp>
    </p:spTree>
    <p:extLst>
      <p:ext uri="{BB962C8B-B14F-4D97-AF65-F5344CB8AC3E}">
        <p14:creationId xmlns:p14="http://schemas.microsoft.com/office/powerpoint/2010/main" val="5746439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86278835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6949"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4" name="Title 3"/>
          <p:cNvSpPr>
            <a:spLocks noGrp="1"/>
          </p:cNvSpPr>
          <p:nvPr>
            <p:ph type="ctrTitle"/>
            <p:custDataLst>
              <p:tags r:id="rId3"/>
            </p:custDataLst>
          </p:nvPr>
        </p:nvSpPr>
        <p:spPr/>
        <p:txBody>
          <a:bodyPr/>
          <a:lstStyle/>
          <a:p>
            <a:r>
              <a:rPr lang="en-US" smtClean="0"/>
              <a:t>Making an </a:t>
            </a:r>
            <a:br>
              <a:rPr lang="en-US" smtClean="0"/>
            </a:br>
            <a:r>
              <a:rPr lang="en-US" smtClean="0"/>
              <a:t>API updatable</a:t>
            </a:r>
            <a:endParaRPr lang="en-US" dirty="0"/>
          </a:p>
        </p:txBody>
      </p:sp>
      <p:sp>
        <p:nvSpPr>
          <p:cNvPr id="3" name="Subtitle 2"/>
          <p:cNvSpPr>
            <a:spLocks noGrp="1"/>
          </p:cNvSpPr>
          <p:nvPr>
            <p:ph type="subTitle" idx="1"/>
          </p:nvPr>
        </p:nvSpPr>
        <p:spPr/>
        <p:txBody>
          <a:bodyPr/>
          <a:lstStyle/>
          <a:p>
            <a:endParaRPr lang="en-US"/>
          </a:p>
        </p:txBody>
      </p:sp>
      <p:sp>
        <p:nvSpPr>
          <p:cNvPr id="5" name="Text Placeholder 4"/>
          <p:cNvSpPr>
            <a:spLocks noGrp="1"/>
          </p:cNvSpPr>
          <p:nvPr>
            <p:ph type="body" sz="quarter" idx="10"/>
          </p:nvPr>
        </p:nvSpPr>
        <p:spPr/>
        <p:txBody>
          <a:bodyPr/>
          <a:lstStyle/>
          <a:p>
            <a:r>
              <a:rPr lang="en-US" smtClean="0"/>
              <a:t>demo</a:t>
            </a:r>
            <a:endParaRPr lang="en-US" dirty="0"/>
          </a:p>
        </p:txBody>
      </p:sp>
    </p:spTree>
    <p:extLst>
      <p:ext uri="{BB962C8B-B14F-4D97-AF65-F5344CB8AC3E}">
        <p14:creationId xmlns:p14="http://schemas.microsoft.com/office/powerpoint/2010/main" val="36814182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95798944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9001"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smtClean="0"/>
              <a:t>Supporting HTML File Upload</a:t>
            </a:r>
            <a:endParaRPr lang="en-US" dirty="0"/>
          </a:p>
        </p:txBody>
      </p:sp>
      <p:sp>
        <p:nvSpPr>
          <p:cNvPr id="4" name="Content Placeholder 3"/>
          <p:cNvSpPr>
            <a:spLocks noGrp="1"/>
          </p:cNvSpPr>
          <p:nvPr>
            <p:ph type="body" sz="quarter" idx="10"/>
            <p:custDataLst>
              <p:tags r:id="rId4"/>
            </p:custDataLst>
          </p:nvPr>
        </p:nvSpPr>
        <p:spPr>
          <a:xfrm>
            <a:off x="519112" y="1424049"/>
            <a:ext cx="11149013" cy="1815882"/>
          </a:xfrm>
        </p:spPr>
        <p:txBody>
          <a:bodyPr/>
          <a:lstStyle/>
          <a:p>
            <a:pPr>
              <a:spcAft>
                <a:spcPts val="1200"/>
              </a:spcAft>
            </a:pPr>
            <a:r>
              <a:rPr lang="en-US" sz="4000" dirty="0">
                <a:gradFill>
                  <a:gsLst>
                    <a:gs pos="0">
                      <a:schemeClr val="accent2"/>
                    </a:gs>
                    <a:gs pos="100000">
                      <a:schemeClr val="accent2"/>
                    </a:gs>
                  </a:gsLst>
                  <a:lin ang="5400000" scaled="0"/>
                </a:gradFill>
                <a:latin typeface="Segoe UI Light" pitchFamily="34" charset="0"/>
              </a:rPr>
              <a:t>Why?</a:t>
            </a:r>
          </a:p>
          <a:p>
            <a:pPr>
              <a:spcAft>
                <a:spcPts val="1200"/>
              </a:spcAft>
            </a:pPr>
            <a:r>
              <a:rPr lang="en-US" sz="4000" dirty="0" smtClean="0">
                <a:latin typeface="Segoe UI Light" pitchFamily="34" charset="0"/>
              </a:rPr>
              <a:t>Allow clients to send </a:t>
            </a:r>
            <a:br>
              <a:rPr lang="en-US" sz="4000" dirty="0" smtClean="0">
                <a:latin typeface="Segoe UI Light" pitchFamily="34" charset="0"/>
              </a:rPr>
            </a:br>
            <a:r>
              <a:rPr lang="en-US" sz="4000" dirty="0" smtClean="0">
                <a:latin typeface="Segoe UI Light" pitchFamily="34" charset="0"/>
              </a:rPr>
              <a:t>files from a browser</a:t>
            </a:r>
            <a:endParaRPr lang="en-US" sz="4000" dirty="0">
              <a:latin typeface="Segoe UI Light" pitchFamily="34" charset="0"/>
            </a:endParaRPr>
          </a:p>
        </p:txBody>
      </p:sp>
      <p:sp>
        <p:nvSpPr>
          <p:cNvPr id="7" name="Rectangle 6"/>
          <p:cNvSpPr/>
          <p:nvPr/>
        </p:nvSpPr>
        <p:spPr bwMode="auto">
          <a:xfrm>
            <a:off x="9072081" y="1141413"/>
            <a:ext cx="2603981" cy="571658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nvGrpSpPr>
          <p:cNvPr id="10" name="Group 9"/>
          <p:cNvGrpSpPr/>
          <p:nvPr/>
        </p:nvGrpSpPr>
        <p:grpSpPr>
          <a:xfrm>
            <a:off x="9256449" y="1447799"/>
            <a:ext cx="2235244" cy="1346060"/>
            <a:chOff x="2893227" y="1263576"/>
            <a:chExt cx="895245" cy="539115"/>
          </a:xfrm>
        </p:grpSpPr>
        <p:sp>
          <p:nvSpPr>
            <p:cNvPr id="8" name="Freeform 7"/>
            <p:cNvSpPr>
              <a:spLocks noEditPoints="1"/>
            </p:cNvSpPr>
            <p:nvPr/>
          </p:nvSpPr>
          <p:spPr bwMode="black">
            <a:xfrm>
              <a:off x="3565791" y="1353636"/>
              <a:ext cx="222681" cy="449055"/>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dirty="0">
                <a:solidFill>
                  <a:schemeClr val="tx1">
                    <a:lumMod val="50000"/>
                  </a:schemeClr>
                </a:solidFill>
                <a:latin typeface="Segoe Light" pitchFamily="34" charset="0"/>
              </a:endParaRPr>
            </a:p>
          </p:txBody>
        </p:sp>
        <p:sp>
          <p:nvSpPr>
            <p:cNvPr id="9" name="Freeform 88"/>
            <p:cNvSpPr>
              <a:spLocks noEditPoints="1"/>
            </p:cNvSpPr>
            <p:nvPr/>
          </p:nvSpPr>
          <p:spPr bwMode="black">
            <a:xfrm>
              <a:off x="2893227" y="1263576"/>
              <a:ext cx="635754" cy="539115"/>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dirty="0">
                <a:solidFill>
                  <a:schemeClr val="tx1">
                    <a:lumMod val="50000"/>
                  </a:schemeClr>
                </a:solidFill>
                <a:latin typeface="Segoe Light" pitchFamily="34" charset="0"/>
              </a:endParaRPr>
            </a:p>
          </p:txBody>
        </p:sp>
      </p:grpSp>
    </p:spTree>
    <p:extLst>
      <p:ext uri="{BB962C8B-B14F-4D97-AF65-F5344CB8AC3E}">
        <p14:creationId xmlns:p14="http://schemas.microsoft.com/office/powerpoint/2010/main" val="27173846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ppt_x"/>
                                          </p:val>
                                        </p:tav>
                                        <p:tav tm="100000">
                                          <p:val>
                                            <p:strVal val="#ppt_x"/>
                                          </p:val>
                                        </p:tav>
                                      </p:tavLst>
                                    </p:anim>
                                    <p:anim calcmode="lin" valueType="num">
                                      <p:cBhvr additive="base">
                                        <p:cTn id="8" dur="500" fill="hold"/>
                                        <p:tgtEl>
                                          <p:spTgt spid="7"/>
                                        </p:tgtEl>
                                        <p:attrNameLst>
                                          <p:attrName>ppt_y</p:attrName>
                                        </p:attrNameLst>
                                      </p:cBhvr>
                                      <p:tavLst>
                                        <p:tav tm="0">
                                          <p:val>
                                            <p:strVal val="1+#ppt_h/2"/>
                                          </p:val>
                                        </p:tav>
                                        <p:tav tm="100000">
                                          <p:val>
                                            <p:strVal val="#ppt_y"/>
                                          </p:val>
                                        </p:tav>
                                      </p:tavLst>
                                    </p:anim>
                                  </p:childTnLst>
                                </p:cTn>
                              </p:par>
                              <p:par>
                                <p:cTn id="9" presetID="2" presetClass="entr" presetSubtype="4" decel="100000" fill="hold" nodeType="withEffect">
                                  <p:stCondLst>
                                    <p:cond delay="250"/>
                                  </p:stCondLst>
                                  <p:childTnLst>
                                    <p:set>
                                      <p:cBhvr>
                                        <p:cTn id="10" dur="1" fill="hold">
                                          <p:stCondLst>
                                            <p:cond delay="0"/>
                                          </p:stCondLst>
                                        </p:cTn>
                                        <p:tgtEl>
                                          <p:spTgt spid="10"/>
                                        </p:tgtEl>
                                        <p:attrNameLst>
                                          <p:attrName>style.visibility</p:attrName>
                                        </p:attrNameLst>
                                      </p:cBhvr>
                                      <p:to>
                                        <p:strVal val="visible"/>
                                      </p:to>
                                    </p:set>
                                    <p:anim calcmode="lin" valueType="num">
                                      <p:cBhvr additive="base">
                                        <p:cTn id="11" dur="500" fill="hold"/>
                                        <p:tgtEl>
                                          <p:spTgt spid="10"/>
                                        </p:tgtEl>
                                        <p:attrNameLst>
                                          <p:attrName>ppt_x</p:attrName>
                                        </p:attrNameLst>
                                      </p:cBhvr>
                                      <p:tavLst>
                                        <p:tav tm="0">
                                          <p:val>
                                            <p:strVal val="#ppt_x"/>
                                          </p:val>
                                        </p:tav>
                                        <p:tav tm="100000">
                                          <p:val>
                                            <p:strVal val="#ppt_x"/>
                                          </p:val>
                                        </p:tav>
                                      </p:tavLst>
                                    </p:anim>
                                    <p:anim calcmode="lin" valueType="num">
                                      <p:cBhvr additive="base">
                                        <p:cTn id="12" dur="500" fill="hold"/>
                                        <p:tgtEl>
                                          <p:spTgt spid="1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09992533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1049"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smtClean="0"/>
              <a:t>Support HTML File Upload</a:t>
            </a:r>
            <a:endParaRPr lang="en-US" dirty="0"/>
          </a:p>
        </p:txBody>
      </p:sp>
      <p:sp>
        <p:nvSpPr>
          <p:cNvPr id="3" name="Content Placeholder 2"/>
          <p:cNvSpPr>
            <a:spLocks noGrp="1"/>
          </p:cNvSpPr>
          <p:nvPr>
            <p:ph type="body" sz="quarter" idx="10"/>
            <p:custDataLst>
              <p:tags r:id="rId4"/>
            </p:custDataLst>
          </p:nvPr>
        </p:nvSpPr>
        <p:spPr>
          <a:xfrm>
            <a:off x="519112" y="1424049"/>
            <a:ext cx="11149013" cy="3410164"/>
          </a:xfrm>
        </p:spPr>
        <p:txBody>
          <a:bodyPr/>
          <a:lstStyle/>
          <a:p>
            <a:pPr>
              <a:spcAft>
                <a:spcPts val="1200"/>
              </a:spcAft>
            </a:pPr>
            <a:r>
              <a:rPr lang="en-US" sz="4000" dirty="0">
                <a:gradFill>
                  <a:gsLst>
                    <a:gs pos="0">
                      <a:schemeClr val="accent2"/>
                    </a:gs>
                    <a:gs pos="100000">
                      <a:schemeClr val="accent2"/>
                    </a:gs>
                  </a:gsLst>
                  <a:lin ang="5400000" scaled="0"/>
                </a:gradFill>
                <a:latin typeface="Segoe UI Light" pitchFamily="34" charset="0"/>
              </a:rPr>
              <a:t>IsMimeMultipartContent </a:t>
            </a:r>
            <a:r>
              <a:rPr lang="en-US" sz="4000" dirty="0" smtClean="0">
                <a:gradFill>
                  <a:gsLst>
                    <a:gs pos="0">
                      <a:schemeClr val="accent2"/>
                    </a:gs>
                    <a:gs pos="100000">
                      <a:schemeClr val="accent2"/>
                    </a:gs>
                  </a:gsLst>
                  <a:lin ang="5400000" scaled="0"/>
                </a:gradFill>
                <a:latin typeface="Segoe UI Light" pitchFamily="34" charset="0"/>
              </a:rPr>
              <a:t/>
            </a:r>
            <a:br>
              <a:rPr lang="en-US" sz="4000" dirty="0" smtClean="0">
                <a:gradFill>
                  <a:gsLst>
                    <a:gs pos="0">
                      <a:schemeClr val="accent2"/>
                    </a:gs>
                    <a:gs pos="100000">
                      <a:schemeClr val="accent2"/>
                    </a:gs>
                  </a:gsLst>
                  <a:lin ang="5400000" scaled="0"/>
                </a:gradFill>
                <a:latin typeface="Segoe UI Light" pitchFamily="34" charset="0"/>
              </a:rPr>
            </a:br>
            <a:r>
              <a:rPr lang="en-US" dirty="0">
                <a:latin typeface="Segoe UI Light" pitchFamily="34" charset="0"/>
              </a:rPr>
              <a:t>– checks if multipart</a:t>
            </a:r>
          </a:p>
          <a:p>
            <a:pPr>
              <a:spcAft>
                <a:spcPts val="1200"/>
              </a:spcAft>
            </a:pPr>
            <a:r>
              <a:rPr lang="en-US" sz="4000" dirty="0" err="1" smtClean="0">
                <a:gradFill>
                  <a:gsLst>
                    <a:gs pos="0">
                      <a:schemeClr val="accent2"/>
                    </a:gs>
                    <a:gs pos="100000">
                      <a:schemeClr val="accent2"/>
                    </a:gs>
                  </a:gsLst>
                  <a:lin ang="5400000" scaled="0"/>
                </a:gradFill>
                <a:latin typeface="Segoe UI Light" pitchFamily="34" charset="0"/>
              </a:rPr>
              <a:t>MultipartFormDataStreamProvider</a:t>
            </a:r>
            <a:r>
              <a:rPr lang="en-US" sz="4000" dirty="0" smtClean="0">
                <a:gradFill>
                  <a:gsLst>
                    <a:gs pos="0">
                      <a:schemeClr val="accent2"/>
                    </a:gs>
                    <a:gs pos="100000">
                      <a:schemeClr val="accent2"/>
                    </a:gs>
                  </a:gsLst>
                  <a:lin ang="5400000" scaled="0"/>
                </a:gradFill>
                <a:latin typeface="Segoe UI Light" pitchFamily="34" charset="0"/>
              </a:rPr>
              <a:t> </a:t>
            </a:r>
            <a:br>
              <a:rPr lang="en-US" sz="4000" dirty="0" smtClean="0">
                <a:gradFill>
                  <a:gsLst>
                    <a:gs pos="0">
                      <a:schemeClr val="accent2"/>
                    </a:gs>
                    <a:gs pos="100000">
                      <a:schemeClr val="accent2"/>
                    </a:gs>
                  </a:gsLst>
                  <a:lin ang="5400000" scaled="0"/>
                </a:gradFill>
                <a:latin typeface="Segoe UI Light" pitchFamily="34" charset="0"/>
              </a:rPr>
            </a:br>
            <a:r>
              <a:rPr lang="en-US" dirty="0">
                <a:latin typeface="Segoe UI Light" pitchFamily="34" charset="0"/>
              </a:rPr>
              <a:t>– parses the streams</a:t>
            </a:r>
          </a:p>
          <a:p>
            <a:pPr>
              <a:spcAft>
                <a:spcPts val="1200"/>
              </a:spcAft>
            </a:pPr>
            <a:r>
              <a:rPr lang="en-US" sz="4000" dirty="0" err="1">
                <a:gradFill>
                  <a:gsLst>
                    <a:gs pos="0">
                      <a:schemeClr val="accent2"/>
                    </a:gs>
                    <a:gs pos="100000">
                      <a:schemeClr val="accent2"/>
                    </a:gs>
                  </a:gsLst>
                  <a:lin ang="5400000" scaled="0"/>
                </a:gradFill>
                <a:latin typeface="Segoe UI Light" pitchFamily="34" charset="0"/>
              </a:rPr>
              <a:t>BodyPartFileNames</a:t>
            </a:r>
            <a:r>
              <a:rPr lang="en-US" sz="4000" dirty="0">
                <a:gradFill>
                  <a:gsLst>
                    <a:gs pos="0">
                      <a:schemeClr val="accent2"/>
                    </a:gs>
                    <a:gs pos="100000">
                      <a:schemeClr val="accent2"/>
                    </a:gs>
                  </a:gsLst>
                  <a:lin ang="5400000" scaled="0"/>
                </a:gradFill>
                <a:latin typeface="Segoe UI Light" pitchFamily="34" charset="0"/>
              </a:rPr>
              <a:t> </a:t>
            </a:r>
            <a:r>
              <a:rPr lang="en-US" sz="4000" dirty="0" smtClean="0">
                <a:gradFill>
                  <a:gsLst>
                    <a:gs pos="0">
                      <a:schemeClr val="accent2"/>
                    </a:gs>
                    <a:gs pos="100000">
                      <a:schemeClr val="accent2"/>
                    </a:gs>
                  </a:gsLst>
                  <a:lin ang="5400000" scaled="0"/>
                </a:gradFill>
                <a:latin typeface="Segoe UI Light" pitchFamily="34" charset="0"/>
              </a:rPr>
              <a:t/>
            </a:r>
            <a:br>
              <a:rPr lang="en-US" sz="4000" dirty="0" smtClean="0">
                <a:gradFill>
                  <a:gsLst>
                    <a:gs pos="0">
                      <a:schemeClr val="accent2"/>
                    </a:gs>
                    <a:gs pos="100000">
                      <a:schemeClr val="accent2"/>
                    </a:gs>
                  </a:gsLst>
                  <a:lin ang="5400000" scaled="0"/>
                </a:gradFill>
                <a:latin typeface="Segoe UI Light" pitchFamily="34" charset="0"/>
              </a:rPr>
            </a:br>
            <a:r>
              <a:rPr lang="en-US" dirty="0">
                <a:latin typeface="Segoe UI Light" pitchFamily="34" charset="0"/>
              </a:rPr>
              <a:t>– returns the list of files sent in the stream</a:t>
            </a:r>
          </a:p>
        </p:txBody>
      </p:sp>
      <p:sp>
        <p:nvSpPr>
          <p:cNvPr id="8" name="Freeform 20"/>
          <p:cNvSpPr>
            <a:spLocks noEditPoints="1"/>
          </p:cNvSpPr>
          <p:nvPr/>
        </p:nvSpPr>
        <p:spPr bwMode="black">
          <a:xfrm>
            <a:off x="8088280" y="3139359"/>
            <a:ext cx="3587783" cy="3110629"/>
          </a:xfrm>
          <a:custGeom>
            <a:avLst/>
            <a:gdLst>
              <a:gd name="T0" fmla="*/ 243 w 708"/>
              <a:gd name="T1" fmla="*/ 484 h 614"/>
              <a:gd name="T2" fmla="*/ 243 w 708"/>
              <a:gd name="T3" fmla="*/ 614 h 614"/>
              <a:gd name="T4" fmla="*/ 0 w 708"/>
              <a:gd name="T5" fmla="*/ 614 h 614"/>
              <a:gd name="T6" fmla="*/ 104 w 708"/>
              <a:gd name="T7" fmla="*/ 437 h 614"/>
              <a:gd name="T8" fmla="*/ 174 w 708"/>
              <a:gd name="T9" fmla="*/ 437 h 614"/>
              <a:gd name="T10" fmla="*/ 134 w 708"/>
              <a:gd name="T11" fmla="*/ 484 h 614"/>
              <a:gd name="T12" fmla="*/ 243 w 708"/>
              <a:gd name="T13" fmla="*/ 484 h 614"/>
              <a:gd name="T14" fmla="*/ 574 w 708"/>
              <a:gd name="T15" fmla="*/ 484 h 614"/>
              <a:gd name="T16" fmla="*/ 465 w 708"/>
              <a:gd name="T17" fmla="*/ 484 h 614"/>
              <a:gd name="T18" fmla="*/ 465 w 708"/>
              <a:gd name="T19" fmla="*/ 614 h 614"/>
              <a:gd name="T20" fmla="*/ 465 w 708"/>
              <a:gd name="T21" fmla="*/ 614 h 614"/>
              <a:gd name="T22" fmla="*/ 708 w 708"/>
              <a:gd name="T23" fmla="*/ 614 h 614"/>
              <a:gd name="T24" fmla="*/ 604 w 708"/>
              <a:gd name="T25" fmla="*/ 437 h 614"/>
              <a:gd name="T26" fmla="*/ 533 w 708"/>
              <a:gd name="T27" fmla="*/ 437 h 614"/>
              <a:gd name="T28" fmla="*/ 574 w 708"/>
              <a:gd name="T29" fmla="*/ 484 h 614"/>
              <a:gd name="T30" fmla="*/ 354 w 708"/>
              <a:gd name="T31" fmla="*/ 229 h 614"/>
              <a:gd name="T32" fmla="*/ 507 w 708"/>
              <a:gd name="T33" fmla="*/ 408 h 614"/>
              <a:gd name="T34" fmla="*/ 590 w 708"/>
              <a:gd name="T35" fmla="*/ 408 h 614"/>
              <a:gd name="T36" fmla="*/ 486 w 708"/>
              <a:gd name="T37" fmla="*/ 229 h 614"/>
              <a:gd name="T38" fmla="*/ 222 w 708"/>
              <a:gd name="T39" fmla="*/ 229 h 614"/>
              <a:gd name="T40" fmla="*/ 118 w 708"/>
              <a:gd name="T41" fmla="*/ 408 h 614"/>
              <a:gd name="T42" fmla="*/ 200 w 708"/>
              <a:gd name="T43" fmla="*/ 408 h 614"/>
              <a:gd name="T44" fmla="*/ 354 w 708"/>
              <a:gd name="T45" fmla="*/ 229 h 614"/>
              <a:gd name="T46" fmla="*/ 354 w 708"/>
              <a:gd name="T47" fmla="*/ 0 h 614"/>
              <a:gd name="T48" fmla="*/ 238 w 708"/>
              <a:gd name="T49" fmla="*/ 200 h 614"/>
              <a:gd name="T50" fmla="*/ 470 w 708"/>
              <a:gd name="T51" fmla="*/ 200 h 614"/>
              <a:gd name="T52" fmla="*/ 354 w 708"/>
              <a:gd name="T53" fmla="*/ 0 h 614"/>
              <a:gd name="T54" fmla="*/ 354 w 708"/>
              <a:gd name="T55" fmla="*/ 274 h 614"/>
              <a:gd name="T56" fmla="*/ 196 w 708"/>
              <a:gd name="T57" fmla="*/ 463 h 614"/>
              <a:gd name="T58" fmla="*/ 278 w 708"/>
              <a:gd name="T59" fmla="*/ 463 h 614"/>
              <a:gd name="T60" fmla="*/ 278 w 708"/>
              <a:gd name="T61" fmla="*/ 614 h 614"/>
              <a:gd name="T62" fmla="*/ 430 w 708"/>
              <a:gd name="T63" fmla="*/ 614 h 614"/>
              <a:gd name="T64" fmla="*/ 430 w 708"/>
              <a:gd name="T65" fmla="*/ 463 h 614"/>
              <a:gd name="T66" fmla="*/ 515 w 708"/>
              <a:gd name="T67" fmla="*/ 463 h 614"/>
              <a:gd name="T68" fmla="*/ 354 w 708"/>
              <a:gd name="T69" fmla="*/ 274 h 6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08" h="614">
                <a:moveTo>
                  <a:pt x="243" y="484"/>
                </a:moveTo>
                <a:lnTo>
                  <a:pt x="243" y="614"/>
                </a:lnTo>
                <a:lnTo>
                  <a:pt x="0" y="614"/>
                </a:lnTo>
                <a:lnTo>
                  <a:pt x="104" y="437"/>
                </a:lnTo>
                <a:lnTo>
                  <a:pt x="174" y="437"/>
                </a:lnTo>
                <a:lnTo>
                  <a:pt x="134" y="484"/>
                </a:lnTo>
                <a:lnTo>
                  <a:pt x="243" y="484"/>
                </a:lnTo>
                <a:close/>
                <a:moveTo>
                  <a:pt x="574" y="484"/>
                </a:moveTo>
                <a:lnTo>
                  <a:pt x="465" y="484"/>
                </a:lnTo>
                <a:lnTo>
                  <a:pt x="465" y="614"/>
                </a:lnTo>
                <a:lnTo>
                  <a:pt x="465" y="614"/>
                </a:lnTo>
                <a:lnTo>
                  <a:pt x="708" y="614"/>
                </a:lnTo>
                <a:lnTo>
                  <a:pt x="604" y="437"/>
                </a:lnTo>
                <a:lnTo>
                  <a:pt x="533" y="437"/>
                </a:lnTo>
                <a:lnTo>
                  <a:pt x="574" y="484"/>
                </a:lnTo>
                <a:close/>
                <a:moveTo>
                  <a:pt x="354" y="229"/>
                </a:moveTo>
                <a:lnTo>
                  <a:pt x="507" y="408"/>
                </a:lnTo>
                <a:lnTo>
                  <a:pt x="590" y="408"/>
                </a:lnTo>
                <a:lnTo>
                  <a:pt x="486" y="229"/>
                </a:lnTo>
                <a:lnTo>
                  <a:pt x="222" y="229"/>
                </a:lnTo>
                <a:lnTo>
                  <a:pt x="118" y="408"/>
                </a:lnTo>
                <a:lnTo>
                  <a:pt x="200" y="408"/>
                </a:lnTo>
                <a:lnTo>
                  <a:pt x="354" y="229"/>
                </a:lnTo>
                <a:close/>
                <a:moveTo>
                  <a:pt x="354" y="0"/>
                </a:moveTo>
                <a:lnTo>
                  <a:pt x="238" y="200"/>
                </a:lnTo>
                <a:lnTo>
                  <a:pt x="470" y="200"/>
                </a:lnTo>
                <a:lnTo>
                  <a:pt x="354" y="0"/>
                </a:lnTo>
                <a:close/>
                <a:moveTo>
                  <a:pt x="354" y="274"/>
                </a:moveTo>
                <a:lnTo>
                  <a:pt x="196" y="463"/>
                </a:lnTo>
                <a:lnTo>
                  <a:pt x="278" y="463"/>
                </a:lnTo>
                <a:lnTo>
                  <a:pt x="278" y="614"/>
                </a:lnTo>
                <a:lnTo>
                  <a:pt x="430" y="614"/>
                </a:lnTo>
                <a:lnTo>
                  <a:pt x="430" y="463"/>
                </a:lnTo>
                <a:lnTo>
                  <a:pt x="515" y="463"/>
                </a:lnTo>
                <a:lnTo>
                  <a:pt x="354" y="274"/>
                </a:lnTo>
                <a:close/>
              </a:path>
            </a:pathLst>
          </a:custGeom>
          <a:solidFill>
            <a:schemeClr val="tx1">
              <a:lumMod val="10000"/>
              <a:lumOff val="90000"/>
            </a:schemeClr>
          </a:solidFill>
          <a:ln>
            <a:noFill/>
          </a:ln>
          <a:extLst/>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38185759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nvSpPr>
        <p:spPr bwMode="auto">
          <a:xfrm>
            <a:off x="0" y="1158339"/>
            <a:ext cx="12188825" cy="4613428"/>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 name="Title 2"/>
          <p:cNvSpPr>
            <a:spLocks noGrp="1"/>
          </p:cNvSpPr>
          <p:nvPr>
            <p:ph type="title"/>
          </p:nvPr>
        </p:nvSpPr>
        <p:spPr>
          <a:xfrm>
            <a:off x="519112" y="228600"/>
            <a:ext cx="11149013" cy="664797"/>
          </a:xfrm>
        </p:spPr>
        <p:txBody>
          <a:bodyPr/>
          <a:lstStyle/>
          <a:p>
            <a:r>
              <a:rPr lang="en-US" sz="4800" dirty="0" smtClean="0"/>
              <a:t>Uploading Files</a:t>
            </a:r>
            <a:endParaRPr lang="en-US" sz="4800" dirty="0"/>
          </a:p>
        </p:txBody>
      </p:sp>
      <p:sp>
        <p:nvSpPr>
          <p:cNvPr id="5" name="TextBox 4"/>
          <p:cNvSpPr txBox="1"/>
          <p:nvPr/>
        </p:nvSpPr>
        <p:spPr>
          <a:xfrm>
            <a:off x="3861765" y="1155118"/>
            <a:ext cx="7909816" cy="4616648"/>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a:solidFill>
                  <a:schemeClr val="bg1"/>
                </a:solidFill>
                <a:latin typeface="Consolas" pitchFamily="49" charset="0"/>
                <a:cs typeface="Consolas" pitchFamily="49" charset="0"/>
              </a:rPr>
              <a:t>public </a:t>
            </a:r>
            <a:r>
              <a:rPr lang="en-US" sz="1400" dirty="0" err="1">
                <a:solidFill>
                  <a:schemeClr val="bg1"/>
                </a:solidFill>
                <a:latin typeface="Consolas" pitchFamily="49" charset="0"/>
                <a:cs typeface="Consolas" pitchFamily="49" charset="0"/>
              </a:rPr>
              <a:t>async</a:t>
            </a:r>
            <a:r>
              <a:rPr lang="en-US" sz="1400" dirty="0">
                <a:solidFill>
                  <a:schemeClr val="bg1"/>
                </a:solidFill>
                <a:latin typeface="Consolas" pitchFamily="49" charset="0"/>
                <a:cs typeface="Consolas" pitchFamily="49" charset="0"/>
              </a:rPr>
              <a:t> Task&lt;</a:t>
            </a:r>
            <a:r>
              <a:rPr lang="en-US" sz="1400" dirty="0" err="1">
                <a:solidFill>
                  <a:schemeClr val="bg1"/>
                </a:solidFill>
                <a:latin typeface="Consolas" pitchFamily="49" charset="0"/>
                <a:cs typeface="Consolas" pitchFamily="49" charset="0"/>
              </a:rPr>
              <a:t>IList</a:t>
            </a:r>
            <a:r>
              <a:rPr lang="en-US" sz="1400" dirty="0">
                <a:solidFill>
                  <a:schemeClr val="bg1"/>
                </a:solidFill>
                <a:latin typeface="Consolas" pitchFamily="49" charset="0"/>
                <a:cs typeface="Consolas" pitchFamily="49" charset="0"/>
              </a:rPr>
              <a:t>&lt;string&gt;&gt; Post()</a:t>
            </a:r>
          </a:p>
          <a:p>
            <a:r>
              <a:rPr lang="en-US" sz="1400" dirty="0">
                <a:solidFill>
                  <a:schemeClr val="bg1"/>
                </a:solidFill>
                <a:latin typeface="Consolas" pitchFamily="49" charset="0"/>
                <a:cs typeface="Consolas" pitchFamily="49" charset="0"/>
              </a:rPr>
              <a:t>{</a:t>
            </a:r>
          </a:p>
          <a:p>
            <a:r>
              <a:rPr lang="en-US" sz="1400" dirty="0">
                <a:solidFill>
                  <a:schemeClr val="bg1"/>
                </a:solidFill>
                <a:latin typeface="Consolas" pitchFamily="49" charset="0"/>
                <a:cs typeface="Consolas" pitchFamily="49" charset="0"/>
              </a:rPr>
              <a:t>    List&lt;string&gt; result = new List&lt;string&gt;();</a:t>
            </a:r>
          </a:p>
          <a:p>
            <a:endParaRPr lang="en-US" sz="1400" dirty="0">
              <a:solidFill>
                <a:schemeClr val="bg1"/>
              </a:solidFill>
              <a:latin typeface="Consolas" pitchFamily="49" charset="0"/>
              <a:cs typeface="Consolas" pitchFamily="49" charset="0"/>
            </a:endParaRPr>
          </a:p>
          <a:p>
            <a:r>
              <a:rPr lang="en-US" sz="1400" dirty="0">
                <a:solidFill>
                  <a:schemeClr val="bg1"/>
                </a:solidFill>
                <a:latin typeface="Consolas" pitchFamily="49" charset="0"/>
                <a:cs typeface="Consolas" pitchFamily="49" charset="0"/>
              </a:rPr>
              <a:t>    if (</a:t>
            </a:r>
            <a:r>
              <a:rPr lang="en-US" sz="1400" dirty="0" err="1">
                <a:solidFill>
                  <a:schemeClr val="bg1"/>
                </a:solidFill>
                <a:latin typeface="Consolas" pitchFamily="49" charset="0"/>
                <a:cs typeface="Consolas" pitchFamily="49" charset="0"/>
              </a:rPr>
              <a:t>Request.Content.</a:t>
            </a:r>
            <a:r>
              <a:rPr lang="en-US" sz="1400" dirty="0" err="1">
                <a:solidFill>
                  <a:schemeClr val="accent4">
                    <a:lumMod val="60000"/>
                    <a:lumOff val="40000"/>
                  </a:schemeClr>
                </a:solidFill>
                <a:latin typeface="Consolas" pitchFamily="49" charset="0"/>
                <a:cs typeface="Consolas" pitchFamily="49" charset="0"/>
              </a:rPr>
              <a:t>IsMimeMultipartContent</a:t>
            </a:r>
            <a:r>
              <a:rPr lang="en-US" sz="1400" dirty="0">
                <a:solidFill>
                  <a:schemeClr val="bg1"/>
                </a:solidFill>
                <a:latin typeface="Consolas" pitchFamily="49" charset="0"/>
                <a:cs typeface="Consolas" pitchFamily="49" charset="0"/>
              </a:rPr>
              <a:t>())</a:t>
            </a:r>
          </a:p>
          <a:p>
            <a:r>
              <a:rPr lang="en-US" sz="1400" dirty="0">
                <a:solidFill>
                  <a:schemeClr val="bg1"/>
                </a:solidFill>
                <a:latin typeface="Consolas" pitchFamily="49" charset="0"/>
                <a:cs typeface="Consolas" pitchFamily="49" charset="0"/>
              </a:rPr>
              <a:t>    {</a:t>
            </a:r>
          </a:p>
          <a:p>
            <a:r>
              <a:rPr lang="en-US" sz="1400" dirty="0">
                <a:solidFill>
                  <a:schemeClr val="bg1"/>
                </a:solidFill>
                <a:latin typeface="Consolas" pitchFamily="49" charset="0"/>
                <a:cs typeface="Consolas" pitchFamily="49" charset="0"/>
              </a:rPr>
              <a:t>        </a:t>
            </a:r>
            <a:r>
              <a:rPr lang="en-US" sz="1400" dirty="0" err="1">
                <a:solidFill>
                  <a:schemeClr val="accent4">
                    <a:lumMod val="60000"/>
                    <a:lumOff val="40000"/>
                  </a:schemeClr>
                </a:solidFill>
                <a:latin typeface="Consolas" pitchFamily="49" charset="0"/>
                <a:cs typeface="Consolas" pitchFamily="49" charset="0"/>
              </a:rPr>
              <a:t>MultipartFormDataStreamProvider</a:t>
            </a:r>
            <a:r>
              <a:rPr lang="en-US" sz="1400" dirty="0">
                <a:solidFill>
                  <a:schemeClr val="accent4">
                    <a:lumMod val="60000"/>
                    <a:lumOff val="40000"/>
                  </a:schemeClr>
                </a:solidFill>
                <a:latin typeface="Consolas" pitchFamily="49" charset="0"/>
                <a:cs typeface="Consolas" pitchFamily="49" charset="0"/>
              </a:rPr>
              <a:t> </a:t>
            </a:r>
            <a:r>
              <a:rPr lang="en-US" sz="1400" dirty="0">
                <a:solidFill>
                  <a:schemeClr val="bg1"/>
                </a:solidFill>
                <a:latin typeface="Consolas" pitchFamily="49" charset="0"/>
                <a:cs typeface="Consolas" pitchFamily="49" charset="0"/>
              </a:rPr>
              <a:t>stream =</a:t>
            </a:r>
          </a:p>
          <a:p>
            <a:r>
              <a:rPr lang="en-US" sz="1400" dirty="0">
                <a:solidFill>
                  <a:schemeClr val="bg1"/>
                </a:solidFill>
                <a:latin typeface="Consolas" pitchFamily="49" charset="0"/>
                <a:cs typeface="Consolas" pitchFamily="49" charset="0"/>
              </a:rPr>
              <a:t>            new </a:t>
            </a:r>
            <a:r>
              <a:rPr lang="en-US" sz="1400" dirty="0" err="1">
                <a:solidFill>
                  <a:schemeClr val="accent4">
                    <a:lumMod val="60000"/>
                    <a:lumOff val="40000"/>
                  </a:schemeClr>
                </a:solidFill>
                <a:latin typeface="Consolas" pitchFamily="49" charset="0"/>
                <a:cs typeface="Consolas" pitchFamily="49" charset="0"/>
              </a:rPr>
              <a:t>MultipartFormDataStreamProvider</a:t>
            </a:r>
            <a:r>
              <a:rPr lang="en-US" sz="1400" dirty="0">
                <a:solidFill>
                  <a:schemeClr val="bg1"/>
                </a:solidFill>
                <a:latin typeface="Consolas" pitchFamily="49" charset="0"/>
                <a:cs typeface="Consolas" pitchFamily="49" charset="0"/>
              </a:rPr>
              <a:t>("c:/uploads/");</a:t>
            </a:r>
          </a:p>
          <a:p>
            <a:endParaRPr lang="en-US" sz="1400" dirty="0">
              <a:solidFill>
                <a:schemeClr val="bg1"/>
              </a:solidFill>
              <a:latin typeface="Consolas" pitchFamily="49" charset="0"/>
              <a:cs typeface="Consolas" pitchFamily="49" charset="0"/>
            </a:endParaRPr>
          </a:p>
          <a:p>
            <a:r>
              <a:rPr lang="en-US" sz="1400" dirty="0">
                <a:solidFill>
                  <a:schemeClr val="bg1"/>
                </a:solidFill>
                <a:latin typeface="Consolas" pitchFamily="49" charset="0"/>
                <a:cs typeface="Consolas" pitchFamily="49" charset="0"/>
              </a:rPr>
              <a:t>        </a:t>
            </a:r>
            <a:r>
              <a:rPr lang="en-US" sz="1400" dirty="0" err="1">
                <a:solidFill>
                  <a:schemeClr val="bg1"/>
                </a:solidFill>
                <a:latin typeface="Consolas" pitchFamily="49" charset="0"/>
                <a:cs typeface="Consolas" pitchFamily="49" charset="0"/>
              </a:rPr>
              <a:t>IEnumerable</a:t>
            </a:r>
            <a:r>
              <a:rPr lang="en-US" sz="1400" dirty="0">
                <a:solidFill>
                  <a:schemeClr val="bg1"/>
                </a:solidFill>
                <a:latin typeface="Consolas" pitchFamily="49" charset="0"/>
                <a:cs typeface="Consolas" pitchFamily="49" charset="0"/>
              </a:rPr>
              <a:t>&lt;</a:t>
            </a:r>
            <a:r>
              <a:rPr lang="en-US" sz="1400" dirty="0" err="1">
                <a:solidFill>
                  <a:schemeClr val="bg1"/>
                </a:solidFill>
                <a:latin typeface="Consolas" pitchFamily="49" charset="0"/>
                <a:cs typeface="Consolas" pitchFamily="49" charset="0"/>
              </a:rPr>
              <a:t>HttpContent</a:t>
            </a:r>
            <a:r>
              <a:rPr lang="en-US" sz="1400" dirty="0">
                <a:solidFill>
                  <a:schemeClr val="bg1"/>
                </a:solidFill>
                <a:latin typeface="Consolas" pitchFamily="49" charset="0"/>
                <a:cs typeface="Consolas" pitchFamily="49" charset="0"/>
              </a:rPr>
              <a:t>&gt; </a:t>
            </a:r>
            <a:r>
              <a:rPr lang="en-US" sz="1400" dirty="0" err="1">
                <a:solidFill>
                  <a:schemeClr val="bg1"/>
                </a:solidFill>
                <a:latin typeface="Consolas" pitchFamily="49" charset="0"/>
                <a:cs typeface="Consolas" pitchFamily="49" charset="0"/>
              </a:rPr>
              <a:t>bodyparts</a:t>
            </a:r>
            <a:r>
              <a:rPr lang="en-US" sz="1400" dirty="0">
                <a:solidFill>
                  <a:schemeClr val="bg1"/>
                </a:solidFill>
                <a:latin typeface="Consolas" pitchFamily="49" charset="0"/>
                <a:cs typeface="Consolas" pitchFamily="49" charset="0"/>
              </a:rPr>
              <a:t> =</a:t>
            </a:r>
          </a:p>
          <a:p>
            <a:r>
              <a:rPr lang="en-US" sz="1400" dirty="0">
                <a:solidFill>
                  <a:schemeClr val="bg1"/>
                </a:solidFill>
                <a:latin typeface="Consolas" pitchFamily="49" charset="0"/>
                <a:cs typeface="Consolas" pitchFamily="49" charset="0"/>
              </a:rPr>
              <a:t>            await </a:t>
            </a:r>
            <a:r>
              <a:rPr lang="en-US" sz="1400" dirty="0" err="1">
                <a:solidFill>
                  <a:schemeClr val="bg1"/>
                </a:solidFill>
                <a:latin typeface="Consolas" pitchFamily="49" charset="0"/>
                <a:cs typeface="Consolas" pitchFamily="49" charset="0"/>
              </a:rPr>
              <a:t>Request.Content.ReadAsMultipartAsync</a:t>
            </a:r>
            <a:r>
              <a:rPr lang="en-US" sz="1400" dirty="0">
                <a:solidFill>
                  <a:schemeClr val="bg1"/>
                </a:solidFill>
                <a:latin typeface="Consolas" pitchFamily="49" charset="0"/>
                <a:cs typeface="Consolas" pitchFamily="49" charset="0"/>
              </a:rPr>
              <a:t>(stream);</a:t>
            </a:r>
          </a:p>
          <a:p>
            <a:endParaRPr lang="en-US" sz="1400" dirty="0">
              <a:solidFill>
                <a:schemeClr val="bg1"/>
              </a:solidFill>
              <a:latin typeface="Consolas" pitchFamily="49" charset="0"/>
              <a:cs typeface="Consolas" pitchFamily="49" charset="0"/>
            </a:endParaRPr>
          </a:p>
          <a:p>
            <a:r>
              <a:rPr lang="en-US" sz="1400" dirty="0">
                <a:solidFill>
                  <a:schemeClr val="bg1"/>
                </a:solidFill>
                <a:latin typeface="Consolas" pitchFamily="49" charset="0"/>
                <a:cs typeface="Consolas" pitchFamily="49" charset="0"/>
              </a:rPr>
              <a:t>        </a:t>
            </a:r>
            <a:r>
              <a:rPr lang="en-US" sz="1400" dirty="0" err="1">
                <a:solidFill>
                  <a:schemeClr val="bg1"/>
                </a:solidFill>
                <a:latin typeface="Consolas" pitchFamily="49" charset="0"/>
                <a:cs typeface="Consolas" pitchFamily="49" charset="0"/>
              </a:rPr>
              <a:t>IDictionary</a:t>
            </a:r>
            <a:r>
              <a:rPr lang="en-US" sz="1400" dirty="0">
                <a:solidFill>
                  <a:schemeClr val="bg1"/>
                </a:solidFill>
                <a:latin typeface="Consolas" pitchFamily="49" charset="0"/>
                <a:cs typeface="Consolas" pitchFamily="49" charset="0"/>
              </a:rPr>
              <a:t>&lt;string, string&gt; </a:t>
            </a:r>
            <a:r>
              <a:rPr lang="en-US" sz="1400" dirty="0" err="1">
                <a:solidFill>
                  <a:schemeClr val="bg1"/>
                </a:solidFill>
                <a:latin typeface="Consolas" pitchFamily="49" charset="0"/>
                <a:cs typeface="Consolas" pitchFamily="49" charset="0"/>
              </a:rPr>
              <a:t>bodyPartFiles</a:t>
            </a:r>
            <a:r>
              <a:rPr lang="en-US" sz="1400" dirty="0">
                <a:solidFill>
                  <a:schemeClr val="bg1"/>
                </a:solidFill>
                <a:latin typeface="Consolas" pitchFamily="49" charset="0"/>
                <a:cs typeface="Consolas" pitchFamily="49" charset="0"/>
              </a:rPr>
              <a:t> </a:t>
            </a:r>
            <a:r>
              <a:rPr lang="en-US" sz="1400" dirty="0" smtClean="0">
                <a:solidFill>
                  <a:schemeClr val="bg1"/>
                </a:solidFill>
                <a:latin typeface="Consolas" pitchFamily="49" charset="0"/>
                <a:cs typeface="Consolas" pitchFamily="49" charset="0"/>
              </a:rPr>
              <a:t>= </a:t>
            </a:r>
            <a:r>
              <a:rPr lang="en-US" sz="1400" dirty="0" err="1" smtClean="0">
                <a:solidFill>
                  <a:schemeClr val="bg1"/>
                </a:solidFill>
                <a:latin typeface="Consolas" pitchFamily="49" charset="0"/>
                <a:cs typeface="Consolas" pitchFamily="49" charset="0"/>
              </a:rPr>
              <a:t>stream.</a:t>
            </a:r>
            <a:r>
              <a:rPr lang="en-US" sz="1400" dirty="0" err="1" smtClean="0">
                <a:solidFill>
                  <a:schemeClr val="accent4">
                    <a:lumMod val="60000"/>
                    <a:lumOff val="40000"/>
                  </a:schemeClr>
                </a:solidFill>
                <a:latin typeface="Consolas" pitchFamily="49" charset="0"/>
                <a:cs typeface="Consolas" pitchFamily="49" charset="0"/>
              </a:rPr>
              <a:t>BodyPartFileNames</a:t>
            </a:r>
            <a:r>
              <a:rPr lang="en-US" sz="1400" dirty="0">
                <a:solidFill>
                  <a:schemeClr val="bg1"/>
                </a:solidFill>
                <a:latin typeface="Consolas" pitchFamily="49" charset="0"/>
                <a:cs typeface="Consolas" pitchFamily="49" charset="0"/>
              </a:rPr>
              <a:t>;</a:t>
            </a:r>
          </a:p>
          <a:p>
            <a:endParaRPr lang="en-US" sz="1400" dirty="0">
              <a:solidFill>
                <a:schemeClr val="bg1"/>
              </a:solidFill>
              <a:latin typeface="Consolas" pitchFamily="49" charset="0"/>
              <a:cs typeface="Consolas" pitchFamily="49" charset="0"/>
            </a:endParaRPr>
          </a:p>
          <a:p>
            <a:r>
              <a:rPr lang="en-US" sz="1400" dirty="0">
                <a:solidFill>
                  <a:schemeClr val="bg1"/>
                </a:solidFill>
                <a:latin typeface="Consolas" pitchFamily="49" charset="0"/>
                <a:cs typeface="Consolas" pitchFamily="49" charset="0"/>
              </a:rPr>
              <a:t>        </a:t>
            </a:r>
            <a:r>
              <a:rPr lang="en-US" sz="1400" dirty="0" err="1">
                <a:solidFill>
                  <a:schemeClr val="bg1"/>
                </a:solidFill>
                <a:latin typeface="Consolas" pitchFamily="49" charset="0"/>
                <a:cs typeface="Consolas" pitchFamily="49" charset="0"/>
              </a:rPr>
              <a:t>bodyPartFiles</a:t>
            </a:r>
            <a:endParaRPr lang="en-US" sz="1400" dirty="0">
              <a:solidFill>
                <a:schemeClr val="bg1"/>
              </a:solidFill>
              <a:latin typeface="Consolas" pitchFamily="49" charset="0"/>
              <a:cs typeface="Consolas" pitchFamily="49" charset="0"/>
            </a:endParaRPr>
          </a:p>
          <a:p>
            <a:r>
              <a:rPr lang="en-US" sz="1400" dirty="0">
                <a:solidFill>
                  <a:schemeClr val="bg1"/>
                </a:solidFill>
                <a:latin typeface="Consolas" pitchFamily="49" charset="0"/>
                <a:cs typeface="Consolas" pitchFamily="49" charset="0"/>
              </a:rPr>
              <a:t>            .Select(</a:t>
            </a:r>
            <a:r>
              <a:rPr lang="en-US" sz="1400" dirty="0" err="1">
                <a:solidFill>
                  <a:schemeClr val="bg1"/>
                </a:solidFill>
                <a:latin typeface="Consolas" pitchFamily="49" charset="0"/>
                <a:cs typeface="Consolas" pitchFamily="49" charset="0"/>
              </a:rPr>
              <a:t>i</a:t>
            </a:r>
            <a:r>
              <a:rPr lang="en-US" sz="1400" dirty="0">
                <a:solidFill>
                  <a:schemeClr val="bg1"/>
                </a:solidFill>
                <a:latin typeface="Consolas" pitchFamily="49" charset="0"/>
                <a:cs typeface="Consolas" pitchFamily="49" charset="0"/>
              </a:rPr>
              <a:t> =&gt; { return </a:t>
            </a:r>
            <a:r>
              <a:rPr lang="en-US" sz="1400" dirty="0" err="1">
                <a:solidFill>
                  <a:schemeClr val="bg1"/>
                </a:solidFill>
                <a:latin typeface="Consolas" pitchFamily="49" charset="0"/>
                <a:cs typeface="Consolas" pitchFamily="49" charset="0"/>
              </a:rPr>
              <a:t>i.Key</a:t>
            </a:r>
            <a:r>
              <a:rPr lang="en-US" sz="1400" dirty="0">
                <a:solidFill>
                  <a:schemeClr val="bg1"/>
                </a:solidFill>
                <a:latin typeface="Consolas" pitchFamily="49" charset="0"/>
                <a:cs typeface="Consolas" pitchFamily="49" charset="0"/>
              </a:rPr>
              <a:t>; })</a:t>
            </a:r>
          </a:p>
          <a:p>
            <a:r>
              <a:rPr lang="en-US" sz="1400" dirty="0">
                <a:solidFill>
                  <a:schemeClr val="bg1"/>
                </a:solidFill>
                <a:latin typeface="Consolas" pitchFamily="49" charset="0"/>
                <a:cs typeface="Consolas" pitchFamily="49" charset="0"/>
              </a:rPr>
              <a:t>            .</a:t>
            </a:r>
            <a:r>
              <a:rPr lang="en-US" sz="1400" dirty="0" err="1">
                <a:solidFill>
                  <a:schemeClr val="bg1"/>
                </a:solidFill>
                <a:latin typeface="Consolas" pitchFamily="49" charset="0"/>
                <a:cs typeface="Consolas" pitchFamily="49" charset="0"/>
              </a:rPr>
              <a:t>ToList</a:t>
            </a:r>
            <a:r>
              <a:rPr lang="en-US" sz="1400" dirty="0">
                <a:solidFill>
                  <a:schemeClr val="bg1"/>
                </a:solidFill>
                <a:latin typeface="Consolas" pitchFamily="49" charset="0"/>
                <a:cs typeface="Consolas" pitchFamily="49" charset="0"/>
              </a:rPr>
              <a:t>()</a:t>
            </a:r>
          </a:p>
          <a:p>
            <a:r>
              <a:rPr lang="en-US" sz="1400" dirty="0">
                <a:solidFill>
                  <a:schemeClr val="bg1"/>
                </a:solidFill>
                <a:latin typeface="Consolas" pitchFamily="49" charset="0"/>
                <a:cs typeface="Consolas" pitchFamily="49" charset="0"/>
              </a:rPr>
              <a:t>                .</a:t>
            </a:r>
            <a:r>
              <a:rPr lang="en-US" sz="1400" dirty="0" err="1">
                <a:solidFill>
                  <a:schemeClr val="bg1"/>
                </a:solidFill>
                <a:latin typeface="Consolas" pitchFamily="49" charset="0"/>
                <a:cs typeface="Consolas" pitchFamily="49" charset="0"/>
              </a:rPr>
              <a:t>ForEach</a:t>
            </a:r>
            <a:r>
              <a:rPr lang="en-US" sz="1400" dirty="0">
                <a:solidFill>
                  <a:schemeClr val="bg1"/>
                </a:solidFill>
                <a:latin typeface="Consolas" pitchFamily="49" charset="0"/>
                <a:cs typeface="Consolas" pitchFamily="49" charset="0"/>
              </a:rPr>
              <a:t>(x =&gt; </a:t>
            </a:r>
            <a:r>
              <a:rPr lang="en-US" sz="1400" dirty="0" err="1">
                <a:solidFill>
                  <a:schemeClr val="bg1"/>
                </a:solidFill>
                <a:latin typeface="Consolas" pitchFamily="49" charset="0"/>
                <a:cs typeface="Consolas" pitchFamily="49" charset="0"/>
              </a:rPr>
              <a:t>result.Add</a:t>
            </a:r>
            <a:r>
              <a:rPr lang="en-US" sz="1400" dirty="0">
                <a:solidFill>
                  <a:schemeClr val="bg1"/>
                </a:solidFill>
                <a:latin typeface="Consolas" pitchFamily="49" charset="0"/>
                <a:cs typeface="Consolas" pitchFamily="49" charset="0"/>
              </a:rPr>
              <a:t>(x));</a:t>
            </a:r>
          </a:p>
          <a:p>
            <a:r>
              <a:rPr lang="en-US" sz="1400" dirty="0">
                <a:solidFill>
                  <a:schemeClr val="bg1"/>
                </a:solidFill>
                <a:latin typeface="Consolas" pitchFamily="49" charset="0"/>
                <a:cs typeface="Consolas" pitchFamily="49" charset="0"/>
              </a:rPr>
              <a:t>    }</a:t>
            </a:r>
          </a:p>
          <a:p>
            <a:r>
              <a:rPr lang="en-US" sz="1400" dirty="0">
                <a:solidFill>
                  <a:schemeClr val="bg1"/>
                </a:solidFill>
                <a:latin typeface="Consolas" pitchFamily="49" charset="0"/>
                <a:cs typeface="Consolas" pitchFamily="49" charset="0"/>
              </a:rPr>
              <a:t>    return result;</a:t>
            </a:r>
          </a:p>
          <a:p>
            <a:r>
              <a:rPr lang="en-US" sz="1400" dirty="0">
                <a:solidFill>
                  <a:schemeClr val="bg1"/>
                </a:solidFill>
                <a:latin typeface="Consolas" pitchFamily="49" charset="0"/>
                <a:cs typeface="Consolas" pitchFamily="49" charset="0"/>
              </a:rPr>
              <a:t>}</a:t>
            </a:r>
            <a:endParaRPr lang="en-US" sz="1400" dirty="0" smtClean="0">
              <a:solidFill>
                <a:schemeClr val="bg1"/>
              </a:solidFill>
              <a:latin typeface="Consolas" pitchFamily="49" charset="0"/>
              <a:cs typeface="Consolas" pitchFamily="49" charset="0"/>
            </a:endParaRPr>
          </a:p>
        </p:txBody>
      </p:sp>
      <p:sp>
        <p:nvSpPr>
          <p:cNvPr id="8" name="Rectangle 7"/>
          <p:cNvSpPr/>
          <p:nvPr/>
        </p:nvSpPr>
        <p:spPr>
          <a:xfrm>
            <a:off x="433839" y="1158338"/>
            <a:ext cx="3427926" cy="1077218"/>
          </a:xfrm>
          <a:prstGeom prst="rect">
            <a:avLst/>
          </a:prstGeom>
        </p:spPr>
        <p:txBody>
          <a:bodyPr wrap="none">
            <a:spAutoFit/>
          </a:bodyPr>
          <a:lstStyle/>
          <a:p>
            <a:r>
              <a:rPr lang="en-US" sz="4000" dirty="0" smtClean="0">
                <a:solidFill>
                  <a:schemeClr val="accent2">
                    <a:alpha val="99000"/>
                  </a:schemeClr>
                </a:solidFill>
                <a:latin typeface="Segoe UI Light" pitchFamily="34" charset="0"/>
              </a:rPr>
              <a:t>Use HTTP Post:</a:t>
            </a:r>
            <a:endParaRPr lang="en-US" sz="4000" dirty="0">
              <a:solidFill>
                <a:schemeClr val="accent2">
                  <a:alpha val="99000"/>
                </a:schemeClr>
              </a:solidFill>
              <a:latin typeface="Segoe UI Light" pitchFamily="34" charset="0"/>
            </a:endParaRPr>
          </a:p>
          <a:p>
            <a:r>
              <a:rPr lang="en-US" dirty="0" smtClean="0">
                <a:solidFill>
                  <a:schemeClr val="tx2">
                    <a:alpha val="99000"/>
                  </a:schemeClr>
                </a:solidFill>
                <a:latin typeface="Segoe UI Light" pitchFamily="34" charset="0"/>
              </a:rPr>
              <a:t>Pass a Model</a:t>
            </a:r>
            <a:endParaRPr lang="en-US" dirty="0">
              <a:solidFill>
                <a:schemeClr val="tx2">
                  <a:alpha val="99000"/>
                </a:schemeClr>
              </a:solidFill>
              <a:latin typeface="Segoe UI Light" pitchFamily="34" charset="0"/>
            </a:endParaRPr>
          </a:p>
        </p:txBody>
      </p:sp>
    </p:spTree>
    <p:extLst>
      <p:ext uri="{BB962C8B-B14F-4D97-AF65-F5344CB8AC3E}">
        <p14:creationId xmlns:p14="http://schemas.microsoft.com/office/powerpoint/2010/main" val="128025610"/>
      </p:ext>
    </p:extLst>
  </p:cSld>
  <p:clrMapOvr>
    <a:masterClrMapping/>
  </p:clrMapOvr>
  <p:transition>
    <p:fad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7590" name="Picture 6" descr="C:\Users\bradyg\AppData\Local\Temp\SNAGHTMLaf5830.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81396" y="2028442"/>
            <a:ext cx="5551542" cy="3291142"/>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p:txBody>
          <a:bodyPr/>
          <a:lstStyle/>
          <a:p>
            <a:r>
              <a:rPr lang="en-US" dirty="0" smtClean="0"/>
              <a:t>So what happens during upload?</a:t>
            </a:r>
            <a:endParaRPr lang="en-US" dirty="0"/>
          </a:p>
        </p:txBody>
      </p:sp>
      <p:sp>
        <p:nvSpPr>
          <p:cNvPr id="4" name="Text Placeholder 3"/>
          <p:cNvSpPr>
            <a:spLocks noGrp="1"/>
          </p:cNvSpPr>
          <p:nvPr>
            <p:ph type="body" idx="1"/>
          </p:nvPr>
        </p:nvSpPr>
        <p:spPr>
          <a:xfrm>
            <a:off x="519113" y="1503200"/>
            <a:ext cx="5486400" cy="387798"/>
          </a:xfrm>
        </p:spPr>
        <p:txBody>
          <a:bodyPr/>
          <a:lstStyle/>
          <a:p>
            <a:r>
              <a:rPr lang="en-US" sz="2800" dirty="0" smtClean="0"/>
              <a:t>Request – Note incoming filename</a:t>
            </a:r>
            <a:endParaRPr lang="en-US" sz="2800" dirty="0"/>
          </a:p>
        </p:txBody>
      </p:sp>
      <p:sp>
        <p:nvSpPr>
          <p:cNvPr id="6" name="Text Placeholder 5"/>
          <p:cNvSpPr>
            <a:spLocks noGrp="1"/>
          </p:cNvSpPr>
          <p:nvPr>
            <p:ph type="body" sz="quarter" idx="3"/>
          </p:nvPr>
        </p:nvSpPr>
        <p:spPr>
          <a:xfrm>
            <a:off x="6181725" y="1503200"/>
            <a:ext cx="5486400" cy="387798"/>
          </a:xfrm>
        </p:spPr>
        <p:txBody>
          <a:bodyPr/>
          <a:lstStyle/>
          <a:p>
            <a:r>
              <a:rPr lang="en-US" sz="2800" dirty="0" smtClean="0"/>
              <a:t>Response – Note saved filename</a:t>
            </a:r>
            <a:endParaRPr lang="en-US" sz="2800" dirty="0"/>
          </a:p>
        </p:txBody>
      </p:sp>
      <p:pic>
        <p:nvPicPr>
          <p:cNvPr id="67586" name="Picture 2" descr="C:\Users\bradyg\AppData\Local\Temp\SNAGHTMLaba112.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81396" y="2028442"/>
            <a:ext cx="5551542" cy="2812692"/>
          </a:xfrm>
          <a:prstGeom prst="rect">
            <a:avLst/>
          </a:prstGeom>
          <a:noFill/>
          <a:extLst>
            <a:ext uri="{909E8E84-426E-40DD-AFC4-6F175D3DCCD1}">
              <a14:hiddenFill xmlns:a14="http://schemas.microsoft.com/office/drawing/2010/main">
                <a:solidFill>
                  <a:srgbClr val="FFFFFF"/>
                </a:solidFill>
              </a14:hiddenFill>
            </a:ext>
          </a:extLst>
        </p:spPr>
      </p:pic>
      <p:pic>
        <p:nvPicPr>
          <p:cNvPr id="67592" name="Picture 8" descr="C:\Users\bradyg\AppData\Local\Temp\SNAGHTMLb0561e.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167492" y="2028442"/>
            <a:ext cx="5551541" cy="3291142"/>
          </a:xfrm>
          <a:prstGeom prst="rect">
            <a:avLst/>
          </a:prstGeom>
          <a:noFill/>
          <a:extLst>
            <a:ext uri="{909E8E84-426E-40DD-AFC4-6F175D3DCCD1}">
              <a14:hiddenFill xmlns:a14="http://schemas.microsoft.com/office/drawing/2010/main">
                <a:solidFill>
                  <a:srgbClr val="FFFFFF"/>
                </a:solidFill>
              </a14:hiddenFill>
            </a:ext>
          </a:extLst>
        </p:spPr>
      </p:pic>
      <p:pic>
        <p:nvPicPr>
          <p:cNvPr id="67588" name="Picture 4" descr="C:\Users\bradyg\AppData\Local\Temp\SNAGHTMLadabdb.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167492" y="2028442"/>
            <a:ext cx="5551541" cy="281269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7756056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67586"/>
                                        </p:tgtEl>
                                        <p:attrNameLst>
                                          <p:attrName>style.visibility</p:attrName>
                                        </p:attrNameLst>
                                      </p:cBhvr>
                                      <p:to>
                                        <p:strVal val="visible"/>
                                      </p:to>
                                    </p:set>
                                    <p:animEffect transition="in" filter="fade">
                                      <p:cBhvr>
                                        <p:cTn id="10" dur="500"/>
                                        <p:tgtEl>
                                          <p:spTgt spid="67586"/>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6">
                                            <p:txEl>
                                              <p:pRg st="0" end="0"/>
                                            </p:txEl>
                                          </p:spTgt>
                                        </p:tgtEl>
                                        <p:attrNameLst>
                                          <p:attrName>style.visibility</p:attrName>
                                        </p:attrNameLst>
                                      </p:cBhvr>
                                      <p:to>
                                        <p:strVal val="visible"/>
                                      </p:to>
                                    </p:set>
                                    <p:animEffect transition="in" filter="fade">
                                      <p:cBhvr>
                                        <p:cTn id="15" dur="500"/>
                                        <p:tgtEl>
                                          <p:spTgt spid="6">
                                            <p:txEl>
                                              <p:pRg st="0" end="0"/>
                                            </p:txEl>
                                          </p:spTgt>
                                        </p:tgtEl>
                                      </p:cBhvr>
                                    </p:animEffect>
                                  </p:childTnLst>
                                </p:cTn>
                              </p:par>
                              <p:par>
                                <p:cTn id="16" presetID="10" presetClass="entr" presetSubtype="0" fill="hold" nodeType="withEffect">
                                  <p:stCondLst>
                                    <p:cond delay="0"/>
                                  </p:stCondLst>
                                  <p:childTnLst>
                                    <p:set>
                                      <p:cBhvr>
                                        <p:cTn id="17" dur="1" fill="hold">
                                          <p:stCondLst>
                                            <p:cond delay="0"/>
                                          </p:stCondLst>
                                        </p:cTn>
                                        <p:tgtEl>
                                          <p:spTgt spid="67588"/>
                                        </p:tgtEl>
                                        <p:attrNameLst>
                                          <p:attrName>style.visibility</p:attrName>
                                        </p:attrNameLst>
                                      </p:cBhvr>
                                      <p:to>
                                        <p:strVal val="visible"/>
                                      </p:to>
                                    </p:set>
                                    <p:animEffect transition="in" filter="fade">
                                      <p:cBhvr>
                                        <p:cTn id="18" dur="500"/>
                                        <p:tgtEl>
                                          <p:spTgt spid="67588"/>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xit" presetSubtype="0" fill="hold" nodeType="clickEffect">
                                  <p:stCondLst>
                                    <p:cond delay="0"/>
                                  </p:stCondLst>
                                  <p:childTnLst>
                                    <p:animEffect transition="out" filter="fade">
                                      <p:cBhvr>
                                        <p:cTn id="22" dur="500"/>
                                        <p:tgtEl>
                                          <p:spTgt spid="67586"/>
                                        </p:tgtEl>
                                      </p:cBhvr>
                                    </p:animEffect>
                                    <p:set>
                                      <p:cBhvr>
                                        <p:cTn id="23" dur="1" fill="hold">
                                          <p:stCondLst>
                                            <p:cond delay="499"/>
                                          </p:stCondLst>
                                        </p:cTn>
                                        <p:tgtEl>
                                          <p:spTgt spid="67586"/>
                                        </p:tgtEl>
                                        <p:attrNameLst>
                                          <p:attrName>style.visibility</p:attrName>
                                        </p:attrNameLst>
                                      </p:cBhvr>
                                      <p:to>
                                        <p:strVal val="hidden"/>
                                      </p:to>
                                    </p:set>
                                  </p:childTnLst>
                                </p:cTn>
                              </p:par>
                              <p:par>
                                <p:cTn id="24" presetID="10" presetClass="entr" presetSubtype="0" fill="hold" nodeType="withEffect">
                                  <p:stCondLst>
                                    <p:cond delay="0"/>
                                  </p:stCondLst>
                                  <p:childTnLst>
                                    <p:set>
                                      <p:cBhvr>
                                        <p:cTn id="25" dur="1" fill="hold">
                                          <p:stCondLst>
                                            <p:cond delay="0"/>
                                          </p:stCondLst>
                                        </p:cTn>
                                        <p:tgtEl>
                                          <p:spTgt spid="67590"/>
                                        </p:tgtEl>
                                        <p:attrNameLst>
                                          <p:attrName>style.visibility</p:attrName>
                                        </p:attrNameLst>
                                      </p:cBhvr>
                                      <p:to>
                                        <p:strVal val="visible"/>
                                      </p:to>
                                    </p:set>
                                    <p:animEffect transition="in" filter="fade">
                                      <p:cBhvr>
                                        <p:cTn id="26" dur="500"/>
                                        <p:tgtEl>
                                          <p:spTgt spid="67590"/>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xit" presetSubtype="0" fill="hold" nodeType="clickEffect">
                                  <p:stCondLst>
                                    <p:cond delay="0"/>
                                  </p:stCondLst>
                                  <p:childTnLst>
                                    <p:animEffect transition="out" filter="fade">
                                      <p:cBhvr>
                                        <p:cTn id="30" dur="500"/>
                                        <p:tgtEl>
                                          <p:spTgt spid="67588"/>
                                        </p:tgtEl>
                                      </p:cBhvr>
                                    </p:animEffect>
                                    <p:set>
                                      <p:cBhvr>
                                        <p:cTn id="31" dur="1" fill="hold">
                                          <p:stCondLst>
                                            <p:cond delay="499"/>
                                          </p:stCondLst>
                                        </p:cTn>
                                        <p:tgtEl>
                                          <p:spTgt spid="67588"/>
                                        </p:tgtEl>
                                        <p:attrNameLst>
                                          <p:attrName>style.visibility</p:attrName>
                                        </p:attrNameLst>
                                      </p:cBhvr>
                                      <p:to>
                                        <p:strVal val="hidden"/>
                                      </p:to>
                                    </p:set>
                                  </p:childTnLst>
                                </p:cTn>
                              </p:par>
                              <p:par>
                                <p:cTn id="32" presetID="10" presetClass="entr" presetSubtype="0" fill="hold" nodeType="withEffect">
                                  <p:stCondLst>
                                    <p:cond delay="0"/>
                                  </p:stCondLst>
                                  <p:childTnLst>
                                    <p:set>
                                      <p:cBhvr>
                                        <p:cTn id="33" dur="1" fill="hold">
                                          <p:stCondLst>
                                            <p:cond delay="0"/>
                                          </p:stCondLst>
                                        </p:cTn>
                                        <p:tgtEl>
                                          <p:spTgt spid="67592"/>
                                        </p:tgtEl>
                                        <p:attrNameLst>
                                          <p:attrName>style.visibility</p:attrName>
                                        </p:attrNameLst>
                                      </p:cBhvr>
                                      <p:to>
                                        <p:strVal val="visible"/>
                                      </p:to>
                                    </p:set>
                                    <p:animEffect transition="in" filter="fade">
                                      <p:cBhvr>
                                        <p:cTn id="34" dur="500"/>
                                        <p:tgtEl>
                                          <p:spTgt spid="6759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P spid="6" grpId="0" build="p"/>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79733041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0021"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7" name="Title 6"/>
          <p:cNvSpPr>
            <a:spLocks noGrp="1"/>
          </p:cNvSpPr>
          <p:nvPr>
            <p:ph type="ctrTitle"/>
          </p:nvPr>
        </p:nvSpPr>
        <p:spPr/>
        <p:txBody>
          <a:bodyPr/>
          <a:lstStyle/>
          <a:p>
            <a:r>
              <a:rPr lang="en-US" smtClean="0"/>
              <a:t>HTML file upload</a:t>
            </a:r>
            <a:endParaRPr lang="en-US" dirty="0"/>
          </a:p>
        </p:txBody>
      </p:sp>
      <p:sp>
        <p:nvSpPr>
          <p:cNvPr id="8" name="Subtitle 7"/>
          <p:cNvSpPr>
            <a:spLocks noGrp="1"/>
          </p:cNvSpPr>
          <p:nvPr>
            <p:ph type="subTitle" idx="1"/>
          </p:nvPr>
        </p:nvSpPr>
        <p:spPr/>
        <p:txBody>
          <a:bodyPr/>
          <a:lstStyle/>
          <a:p>
            <a:r>
              <a:rPr lang="en-US" dirty="0" smtClean="0"/>
              <a:t>Using </a:t>
            </a:r>
            <a:r>
              <a:rPr lang="en-US" dirty="0" err="1" smtClean="0"/>
              <a:t>HttpContent</a:t>
            </a:r>
            <a:r>
              <a:rPr lang="en-US" dirty="0" smtClean="0"/>
              <a:t> to work with the body of the request</a:t>
            </a:r>
            <a:endParaRPr lang="en-US" dirty="0"/>
          </a:p>
        </p:txBody>
      </p:sp>
      <p:sp>
        <p:nvSpPr>
          <p:cNvPr id="9" name="Text Placeholder 8"/>
          <p:cNvSpPr>
            <a:spLocks noGrp="1"/>
          </p:cNvSpPr>
          <p:nvPr>
            <p:ph type="body" sz="quarter" idx="10"/>
          </p:nvPr>
        </p:nvSpPr>
        <p:spPr/>
        <p:txBody>
          <a:bodyPr/>
          <a:lstStyle/>
          <a:p>
            <a:r>
              <a:rPr lang="en-US" smtClean="0"/>
              <a:t>demo	</a:t>
            </a:r>
            <a:endParaRPr lang="en-US" dirty="0"/>
          </a:p>
        </p:txBody>
      </p:sp>
    </p:spTree>
    <p:extLst>
      <p:ext uri="{BB962C8B-B14F-4D97-AF65-F5344CB8AC3E}">
        <p14:creationId xmlns:p14="http://schemas.microsoft.com/office/powerpoint/2010/main" val="12563659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3965359087"/>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2073"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smtClean="0"/>
              <a:t>Configuring Your Web API</a:t>
            </a:r>
            <a:endParaRPr lang="en-US" dirty="0"/>
          </a:p>
        </p:txBody>
      </p:sp>
      <p:sp>
        <p:nvSpPr>
          <p:cNvPr id="4" name="Content Placeholder 3"/>
          <p:cNvSpPr>
            <a:spLocks noGrp="1"/>
          </p:cNvSpPr>
          <p:nvPr>
            <p:ph type="body" sz="quarter" idx="10"/>
            <p:custDataLst>
              <p:tags r:id="rId4"/>
            </p:custDataLst>
          </p:nvPr>
        </p:nvSpPr>
        <p:spPr>
          <a:xfrm>
            <a:off x="519112" y="1424049"/>
            <a:ext cx="11149013" cy="4579715"/>
          </a:xfrm>
        </p:spPr>
        <p:txBody>
          <a:bodyPr/>
          <a:lstStyle/>
          <a:p>
            <a:pPr>
              <a:spcAft>
                <a:spcPts val="1200"/>
              </a:spcAft>
            </a:pPr>
            <a:r>
              <a:rPr lang="en-US" sz="4000" dirty="0">
                <a:gradFill>
                  <a:gsLst>
                    <a:gs pos="0">
                      <a:schemeClr val="accent2"/>
                    </a:gs>
                    <a:gs pos="100000">
                      <a:schemeClr val="accent2"/>
                    </a:gs>
                  </a:gsLst>
                  <a:lin ang="5400000" scaled="0"/>
                </a:gradFill>
                <a:latin typeface="Segoe UI Light" pitchFamily="34" charset="0"/>
              </a:rPr>
              <a:t>Why?</a:t>
            </a:r>
          </a:p>
          <a:p>
            <a:pPr>
              <a:spcAft>
                <a:spcPts val="1200"/>
              </a:spcAft>
            </a:pPr>
            <a:r>
              <a:rPr lang="en-US" dirty="0" smtClean="0">
                <a:latin typeface="Segoe UI Light" pitchFamily="34" charset="0"/>
              </a:rPr>
              <a:t>Change common settings like </a:t>
            </a:r>
            <a:br>
              <a:rPr lang="en-US" dirty="0" smtClean="0">
                <a:latin typeface="Segoe UI Light" pitchFamily="34" charset="0"/>
              </a:rPr>
            </a:br>
            <a:r>
              <a:rPr lang="en-US" dirty="0" err="1" smtClean="0">
                <a:latin typeface="Segoe UI Light" pitchFamily="34" charset="0"/>
              </a:rPr>
              <a:t>MaxRecievedMessageSize</a:t>
            </a:r>
            <a:endParaRPr lang="en-US" dirty="0" smtClean="0">
              <a:latin typeface="Segoe UI Light" pitchFamily="34" charset="0"/>
            </a:endParaRPr>
          </a:p>
          <a:p>
            <a:pPr>
              <a:spcAft>
                <a:spcPts val="1200"/>
              </a:spcAft>
            </a:pPr>
            <a:r>
              <a:rPr lang="en-US" dirty="0" smtClean="0">
                <a:latin typeface="Segoe UI Light" pitchFamily="34" charset="0"/>
              </a:rPr>
              <a:t>Enable web </a:t>
            </a:r>
            <a:r>
              <a:rPr lang="en-US" dirty="0" err="1" smtClean="0">
                <a:latin typeface="Segoe UI Light" pitchFamily="34" charset="0"/>
              </a:rPr>
              <a:t>api</a:t>
            </a:r>
            <a:r>
              <a:rPr lang="en-US" dirty="0" smtClean="0">
                <a:latin typeface="Segoe UI Light" pitchFamily="34" charset="0"/>
              </a:rPr>
              <a:t> test client</a:t>
            </a:r>
          </a:p>
          <a:p>
            <a:pPr>
              <a:spcAft>
                <a:spcPts val="1200"/>
              </a:spcAft>
            </a:pPr>
            <a:r>
              <a:rPr lang="en-US" dirty="0" smtClean="0">
                <a:latin typeface="Segoe UI Light" pitchFamily="34" charset="0"/>
              </a:rPr>
              <a:t>Wire up an </a:t>
            </a:r>
            <a:r>
              <a:rPr lang="en-US" dirty="0" err="1" smtClean="0">
                <a:latin typeface="Segoe UI Light" pitchFamily="34" charset="0"/>
              </a:rPr>
              <a:t>IoC</a:t>
            </a:r>
            <a:r>
              <a:rPr lang="en-US" dirty="0" smtClean="0">
                <a:latin typeface="Segoe UI Light" pitchFamily="34" charset="0"/>
              </a:rPr>
              <a:t> container</a:t>
            </a:r>
          </a:p>
          <a:p>
            <a:pPr>
              <a:spcAft>
                <a:spcPts val="1200"/>
              </a:spcAft>
            </a:pPr>
            <a:r>
              <a:rPr lang="en-US" dirty="0" smtClean="0">
                <a:latin typeface="Segoe UI Light" pitchFamily="34" charset="0"/>
              </a:rPr>
              <a:t>Enable security</a:t>
            </a:r>
          </a:p>
          <a:p>
            <a:pPr>
              <a:spcAft>
                <a:spcPts val="1200"/>
              </a:spcAft>
            </a:pPr>
            <a:r>
              <a:rPr lang="en-US" dirty="0" smtClean="0">
                <a:latin typeface="Segoe UI Light" pitchFamily="34" charset="0"/>
              </a:rPr>
              <a:t>Configure handlers and formatters</a:t>
            </a:r>
          </a:p>
          <a:p>
            <a:pPr>
              <a:spcAft>
                <a:spcPts val="1200"/>
              </a:spcAft>
            </a:pPr>
            <a:r>
              <a:rPr lang="en-US" dirty="0" smtClean="0">
                <a:latin typeface="Segoe UI Light" pitchFamily="34" charset="0"/>
              </a:rPr>
              <a:t>Adding custom error handlers</a:t>
            </a:r>
            <a:endParaRPr lang="en-US" dirty="0">
              <a:latin typeface="Segoe UI Light" pitchFamily="34" charset="0"/>
            </a:endParaRPr>
          </a:p>
        </p:txBody>
      </p:sp>
      <p:sp>
        <p:nvSpPr>
          <p:cNvPr id="7" name="Rectangle 6"/>
          <p:cNvSpPr/>
          <p:nvPr/>
        </p:nvSpPr>
        <p:spPr bwMode="auto">
          <a:xfrm>
            <a:off x="9072081" y="1141413"/>
            <a:ext cx="2603981" cy="571658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nvGrpSpPr>
          <p:cNvPr id="9" name="Group 8"/>
          <p:cNvGrpSpPr/>
          <p:nvPr/>
        </p:nvGrpSpPr>
        <p:grpSpPr bwMode="black">
          <a:xfrm>
            <a:off x="9380550" y="1447799"/>
            <a:ext cx="1987042" cy="2235868"/>
            <a:chOff x="1752600" y="4267200"/>
            <a:chExt cx="1157286" cy="1302545"/>
          </a:xfrm>
        </p:grpSpPr>
        <p:sp>
          <p:nvSpPr>
            <p:cNvPr id="10" name="Freeform 219"/>
            <p:cNvSpPr>
              <a:spLocks/>
            </p:cNvSpPr>
            <p:nvPr/>
          </p:nvSpPr>
          <p:spPr bwMode="black">
            <a:xfrm>
              <a:off x="2573475" y="4995891"/>
              <a:ext cx="330824" cy="573854"/>
            </a:xfrm>
            <a:custGeom>
              <a:avLst/>
              <a:gdLst>
                <a:gd name="T0" fmla="*/ 157 w 351"/>
                <a:gd name="T1" fmla="*/ 2 h 609"/>
                <a:gd name="T2" fmla="*/ 155 w 351"/>
                <a:gd name="T3" fmla="*/ 104 h 609"/>
                <a:gd name="T4" fmla="*/ 180 w 351"/>
                <a:gd name="T5" fmla="*/ 99 h 609"/>
                <a:gd name="T6" fmla="*/ 231 w 351"/>
                <a:gd name="T7" fmla="*/ 121 h 609"/>
                <a:gd name="T8" fmla="*/ 252 w 351"/>
                <a:gd name="T9" fmla="*/ 174 h 609"/>
                <a:gd name="T10" fmla="*/ 251 w 351"/>
                <a:gd name="T11" fmla="*/ 212 h 609"/>
                <a:gd name="T12" fmla="*/ 251 w 351"/>
                <a:gd name="T13" fmla="*/ 212 h 609"/>
                <a:gd name="T14" fmla="*/ 247 w 351"/>
                <a:gd name="T15" fmla="*/ 387 h 609"/>
                <a:gd name="T16" fmla="*/ 247 w 351"/>
                <a:gd name="T17" fmla="*/ 387 h 609"/>
                <a:gd name="T18" fmla="*/ 246 w 351"/>
                <a:gd name="T19" fmla="*/ 438 h 609"/>
                <a:gd name="T20" fmla="*/ 223 w 351"/>
                <a:gd name="T21" fmla="*/ 489 h 609"/>
                <a:gd name="T22" fmla="*/ 171 w 351"/>
                <a:gd name="T23" fmla="*/ 510 h 609"/>
                <a:gd name="T24" fmla="*/ 120 w 351"/>
                <a:gd name="T25" fmla="*/ 487 h 609"/>
                <a:gd name="T26" fmla="*/ 100 w 351"/>
                <a:gd name="T27" fmla="*/ 435 h 609"/>
                <a:gd name="T28" fmla="*/ 101 w 351"/>
                <a:gd name="T29" fmla="*/ 395 h 609"/>
                <a:gd name="T30" fmla="*/ 4 w 351"/>
                <a:gd name="T31" fmla="*/ 311 h 609"/>
                <a:gd name="T32" fmla="*/ 1 w 351"/>
                <a:gd name="T33" fmla="*/ 433 h 609"/>
                <a:gd name="T34" fmla="*/ 49 w 351"/>
                <a:gd name="T35" fmla="*/ 555 h 609"/>
                <a:gd name="T36" fmla="*/ 169 w 351"/>
                <a:gd name="T37" fmla="*/ 608 h 609"/>
                <a:gd name="T38" fmla="*/ 292 w 351"/>
                <a:gd name="T39" fmla="*/ 561 h 609"/>
                <a:gd name="T40" fmla="*/ 292 w 351"/>
                <a:gd name="T41" fmla="*/ 561 h 609"/>
                <a:gd name="T42" fmla="*/ 345 w 351"/>
                <a:gd name="T43" fmla="*/ 441 h 609"/>
                <a:gd name="T44" fmla="*/ 350 w 351"/>
                <a:gd name="T45" fmla="*/ 176 h 609"/>
                <a:gd name="T46" fmla="*/ 303 w 351"/>
                <a:gd name="T47" fmla="*/ 53 h 609"/>
                <a:gd name="T48" fmla="*/ 183 w 351"/>
                <a:gd name="T49" fmla="*/ 0 h 609"/>
                <a:gd name="T50" fmla="*/ 157 w 351"/>
                <a:gd name="T51" fmla="*/ 2 h 6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51" h="609">
                  <a:moveTo>
                    <a:pt x="157" y="2"/>
                  </a:moveTo>
                  <a:cubicBezTo>
                    <a:pt x="155" y="104"/>
                    <a:pt x="155" y="104"/>
                    <a:pt x="155" y="104"/>
                  </a:cubicBezTo>
                  <a:cubicBezTo>
                    <a:pt x="163" y="101"/>
                    <a:pt x="171" y="99"/>
                    <a:pt x="180" y="99"/>
                  </a:cubicBezTo>
                  <a:cubicBezTo>
                    <a:pt x="201" y="99"/>
                    <a:pt x="218" y="108"/>
                    <a:pt x="231" y="121"/>
                  </a:cubicBezTo>
                  <a:cubicBezTo>
                    <a:pt x="244" y="135"/>
                    <a:pt x="252" y="153"/>
                    <a:pt x="252" y="174"/>
                  </a:cubicBezTo>
                  <a:cubicBezTo>
                    <a:pt x="251" y="212"/>
                    <a:pt x="251" y="212"/>
                    <a:pt x="251" y="212"/>
                  </a:cubicBezTo>
                  <a:cubicBezTo>
                    <a:pt x="251" y="212"/>
                    <a:pt x="251" y="212"/>
                    <a:pt x="251" y="212"/>
                  </a:cubicBezTo>
                  <a:cubicBezTo>
                    <a:pt x="247" y="387"/>
                    <a:pt x="247" y="387"/>
                    <a:pt x="247" y="387"/>
                  </a:cubicBezTo>
                  <a:cubicBezTo>
                    <a:pt x="247" y="387"/>
                    <a:pt x="247" y="387"/>
                    <a:pt x="247" y="387"/>
                  </a:cubicBezTo>
                  <a:cubicBezTo>
                    <a:pt x="246" y="438"/>
                    <a:pt x="246" y="438"/>
                    <a:pt x="246" y="438"/>
                  </a:cubicBezTo>
                  <a:cubicBezTo>
                    <a:pt x="245" y="459"/>
                    <a:pt x="237" y="476"/>
                    <a:pt x="223" y="489"/>
                  </a:cubicBezTo>
                  <a:cubicBezTo>
                    <a:pt x="210" y="502"/>
                    <a:pt x="191" y="510"/>
                    <a:pt x="171" y="510"/>
                  </a:cubicBezTo>
                  <a:cubicBezTo>
                    <a:pt x="151" y="509"/>
                    <a:pt x="133" y="501"/>
                    <a:pt x="120" y="487"/>
                  </a:cubicBezTo>
                  <a:cubicBezTo>
                    <a:pt x="107" y="474"/>
                    <a:pt x="99" y="455"/>
                    <a:pt x="100" y="435"/>
                  </a:cubicBezTo>
                  <a:cubicBezTo>
                    <a:pt x="101" y="395"/>
                    <a:pt x="101" y="395"/>
                    <a:pt x="101" y="395"/>
                  </a:cubicBezTo>
                  <a:cubicBezTo>
                    <a:pt x="42" y="375"/>
                    <a:pt x="16" y="338"/>
                    <a:pt x="4" y="311"/>
                  </a:cubicBezTo>
                  <a:cubicBezTo>
                    <a:pt x="1" y="433"/>
                    <a:pt x="1" y="433"/>
                    <a:pt x="1" y="433"/>
                  </a:cubicBezTo>
                  <a:cubicBezTo>
                    <a:pt x="0" y="480"/>
                    <a:pt x="18" y="524"/>
                    <a:pt x="49" y="555"/>
                  </a:cubicBezTo>
                  <a:cubicBezTo>
                    <a:pt x="79" y="587"/>
                    <a:pt x="122" y="607"/>
                    <a:pt x="169" y="608"/>
                  </a:cubicBezTo>
                  <a:cubicBezTo>
                    <a:pt x="216" y="609"/>
                    <a:pt x="260" y="591"/>
                    <a:pt x="292" y="561"/>
                  </a:cubicBezTo>
                  <a:cubicBezTo>
                    <a:pt x="292" y="561"/>
                    <a:pt x="292" y="561"/>
                    <a:pt x="292" y="561"/>
                  </a:cubicBezTo>
                  <a:cubicBezTo>
                    <a:pt x="323" y="530"/>
                    <a:pt x="343" y="488"/>
                    <a:pt x="345" y="441"/>
                  </a:cubicBezTo>
                  <a:cubicBezTo>
                    <a:pt x="350" y="176"/>
                    <a:pt x="350" y="176"/>
                    <a:pt x="350" y="176"/>
                  </a:cubicBezTo>
                  <a:cubicBezTo>
                    <a:pt x="351" y="128"/>
                    <a:pt x="333" y="85"/>
                    <a:pt x="303" y="53"/>
                  </a:cubicBezTo>
                  <a:cubicBezTo>
                    <a:pt x="273" y="22"/>
                    <a:pt x="230" y="1"/>
                    <a:pt x="183" y="0"/>
                  </a:cubicBezTo>
                  <a:cubicBezTo>
                    <a:pt x="174" y="0"/>
                    <a:pt x="165" y="1"/>
                    <a:pt x="157" y="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1" name="Freeform 220"/>
            <p:cNvSpPr>
              <a:spLocks/>
            </p:cNvSpPr>
            <p:nvPr/>
          </p:nvSpPr>
          <p:spPr bwMode="black">
            <a:xfrm>
              <a:off x="2579062" y="4756453"/>
              <a:ext cx="330824" cy="573854"/>
            </a:xfrm>
            <a:custGeom>
              <a:avLst/>
              <a:gdLst>
                <a:gd name="T0" fmla="*/ 182 w 351"/>
                <a:gd name="T1" fmla="*/ 1 h 609"/>
                <a:gd name="T2" fmla="*/ 60 w 351"/>
                <a:gd name="T3" fmla="*/ 48 h 609"/>
                <a:gd name="T4" fmla="*/ 60 w 351"/>
                <a:gd name="T5" fmla="*/ 49 h 609"/>
                <a:gd name="T6" fmla="*/ 7 w 351"/>
                <a:gd name="T7" fmla="*/ 169 h 609"/>
                <a:gd name="T8" fmla="*/ 1 w 351"/>
                <a:gd name="T9" fmla="*/ 433 h 609"/>
                <a:gd name="T10" fmla="*/ 48 w 351"/>
                <a:gd name="T11" fmla="*/ 556 h 609"/>
                <a:gd name="T12" fmla="*/ 169 w 351"/>
                <a:gd name="T13" fmla="*/ 609 h 609"/>
                <a:gd name="T14" fmla="*/ 194 w 351"/>
                <a:gd name="T15" fmla="*/ 607 h 609"/>
                <a:gd name="T16" fmla="*/ 197 w 351"/>
                <a:gd name="T17" fmla="*/ 505 h 609"/>
                <a:gd name="T18" fmla="*/ 171 w 351"/>
                <a:gd name="T19" fmla="*/ 510 h 609"/>
                <a:gd name="T20" fmla="*/ 120 w 351"/>
                <a:gd name="T21" fmla="*/ 488 h 609"/>
                <a:gd name="T22" fmla="*/ 99 w 351"/>
                <a:gd name="T23" fmla="*/ 436 h 609"/>
                <a:gd name="T24" fmla="*/ 104 w 351"/>
                <a:gd name="T25" fmla="*/ 227 h 609"/>
                <a:gd name="T26" fmla="*/ 104 w 351"/>
                <a:gd name="T27" fmla="*/ 220 h 609"/>
                <a:gd name="T28" fmla="*/ 105 w 351"/>
                <a:gd name="T29" fmla="*/ 171 h 609"/>
                <a:gd name="T30" fmla="*/ 128 w 351"/>
                <a:gd name="T31" fmla="*/ 120 h 609"/>
                <a:gd name="T32" fmla="*/ 180 w 351"/>
                <a:gd name="T33" fmla="*/ 99 h 609"/>
                <a:gd name="T34" fmla="*/ 231 w 351"/>
                <a:gd name="T35" fmla="*/ 122 h 609"/>
                <a:gd name="T36" fmla="*/ 251 w 351"/>
                <a:gd name="T37" fmla="*/ 174 h 609"/>
                <a:gd name="T38" fmla="*/ 250 w 351"/>
                <a:gd name="T39" fmla="*/ 214 h 609"/>
                <a:gd name="T40" fmla="*/ 347 w 351"/>
                <a:gd name="T41" fmla="*/ 299 h 609"/>
                <a:gd name="T42" fmla="*/ 350 w 351"/>
                <a:gd name="T43" fmla="*/ 176 h 609"/>
                <a:gd name="T44" fmla="*/ 302 w 351"/>
                <a:gd name="T45" fmla="*/ 54 h 609"/>
                <a:gd name="T46" fmla="*/ 182 w 351"/>
                <a:gd name="T47" fmla="*/ 1 h 6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51" h="609">
                  <a:moveTo>
                    <a:pt x="182" y="1"/>
                  </a:moveTo>
                  <a:cubicBezTo>
                    <a:pt x="135" y="0"/>
                    <a:pt x="91" y="18"/>
                    <a:pt x="60" y="48"/>
                  </a:cubicBezTo>
                  <a:cubicBezTo>
                    <a:pt x="60" y="48"/>
                    <a:pt x="60" y="49"/>
                    <a:pt x="60" y="49"/>
                  </a:cubicBezTo>
                  <a:cubicBezTo>
                    <a:pt x="28" y="79"/>
                    <a:pt x="8" y="122"/>
                    <a:pt x="7" y="169"/>
                  </a:cubicBezTo>
                  <a:cubicBezTo>
                    <a:pt x="1" y="433"/>
                    <a:pt x="1" y="433"/>
                    <a:pt x="1" y="433"/>
                  </a:cubicBezTo>
                  <a:cubicBezTo>
                    <a:pt x="0" y="481"/>
                    <a:pt x="18" y="524"/>
                    <a:pt x="48" y="556"/>
                  </a:cubicBezTo>
                  <a:cubicBezTo>
                    <a:pt x="79" y="588"/>
                    <a:pt x="121" y="608"/>
                    <a:pt x="169" y="609"/>
                  </a:cubicBezTo>
                  <a:cubicBezTo>
                    <a:pt x="177" y="609"/>
                    <a:pt x="186" y="608"/>
                    <a:pt x="194" y="607"/>
                  </a:cubicBezTo>
                  <a:cubicBezTo>
                    <a:pt x="197" y="505"/>
                    <a:pt x="197" y="505"/>
                    <a:pt x="197" y="505"/>
                  </a:cubicBezTo>
                  <a:cubicBezTo>
                    <a:pt x="189" y="508"/>
                    <a:pt x="180" y="510"/>
                    <a:pt x="171" y="510"/>
                  </a:cubicBezTo>
                  <a:cubicBezTo>
                    <a:pt x="151" y="510"/>
                    <a:pt x="133" y="501"/>
                    <a:pt x="120" y="488"/>
                  </a:cubicBezTo>
                  <a:cubicBezTo>
                    <a:pt x="107" y="474"/>
                    <a:pt x="99" y="456"/>
                    <a:pt x="99" y="436"/>
                  </a:cubicBezTo>
                  <a:cubicBezTo>
                    <a:pt x="104" y="227"/>
                    <a:pt x="104" y="227"/>
                    <a:pt x="104" y="227"/>
                  </a:cubicBezTo>
                  <a:cubicBezTo>
                    <a:pt x="104" y="220"/>
                    <a:pt x="104" y="220"/>
                    <a:pt x="104" y="220"/>
                  </a:cubicBezTo>
                  <a:cubicBezTo>
                    <a:pt x="105" y="171"/>
                    <a:pt x="105" y="171"/>
                    <a:pt x="105" y="171"/>
                  </a:cubicBezTo>
                  <a:cubicBezTo>
                    <a:pt x="106" y="151"/>
                    <a:pt x="114" y="133"/>
                    <a:pt x="128" y="120"/>
                  </a:cubicBezTo>
                  <a:cubicBezTo>
                    <a:pt x="142" y="107"/>
                    <a:pt x="160" y="99"/>
                    <a:pt x="180" y="99"/>
                  </a:cubicBezTo>
                  <a:cubicBezTo>
                    <a:pt x="200" y="100"/>
                    <a:pt x="218" y="108"/>
                    <a:pt x="231" y="122"/>
                  </a:cubicBezTo>
                  <a:cubicBezTo>
                    <a:pt x="244" y="136"/>
                    <a:pt x="252" y="154"/>
                    <a:pt x="251" y="174"/>
                  </a:cubicBezTo>
                  <a:cubicBezTo>
                    <a:pt x="250" y="214"/>
                    <a:pt x="250" y="214"/>
                    <a:pt x="250" y="214"/>
                  </a:cubicBezTo>
                  <a:cubicBezTo>
                    <a:pt x="309" y="234"/>
                    <a:pt x="335" y="271"/>
                    <a:pt x="347" y="299"/>
                  </a:cubicBezTo>
                  <a:cubicBezTo>
                    <a:pt x="350" y="176"/>
                    <a:pt x="350" y="176"/>
                    <a:pt x="350" y="176"/>
                  </a:cubicBezTo>
                  <a:cubicBezTo>
                    <a:pt x="351" y="129"/>
                    <a:pt x="333" y="85"/>
                    <a:pt x="302" y="54"/>
                  </a:cubicBezTo>
                  <a:cubicBezTo>
                    <a:pt x="272" y="22"/>
                    <a:pt x="229" y="2"/>
                    <a:pt x="182" y="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2" name="Freeform 221"/>
            <p:cNvSpPr>
              <a:spLocks/>
            </p:cNvSpPr>
            <p:nvPr/>
          </p:nvSpPr>
          <p:spPr bwMode="black">
            <a:xfrm>
              <a:off x="1752600" y="4467929"/>
              <a:ext cx="670029" cy="926627"/>
            </a:xfrm>
            <a:custGeom>
              <a:avLst/>
              <a:gdLst>
                <a:gd name="T0" fmla="*/ 678 w 711"/>
                <a:gd name="T1" fmla="*/ 915 h 983"/>
                <a:gd name="T2" fmla="*/ 154 w 711"/>
                <a:gd name="T3" fmla="*/ 755 h 983"/>
                <a:gd name="T4" fmla="*/ 69 w 711"/>
                <a:gd name="T5" fmla="*/ 562 h 983"/>
                <a:gd name="T6" fmla="*/ 69 w 711"/>
                <a:gd name="T7" fmla="*/ 34 h 983"/>
                <a:gd name="T8" fmla="*/ 34 w 711"/>
                <a:gd name="T9" fmla="*/ 0 h 983"/>
                <a:gd name="T10" fmla="*/ 0 w 711"/>
                <a:gd name="T11" fmla="*/ 34 h 983"/>
                <a:gd name="T12" fmla="*/ 0 w 711"/>
                <a:gd name="T13" fmla="*/ 562 h 983"/>
                <a:gd name="T14" fmla="*/ 0 w 711"/>
                <a:gd name="T15" fmla="*/ 562 h 983"/>
                <a:gd name="T16" fmla="*/ 108 w 711"/>
                <a:gd name="T17" fmla="*/ 805 h 983"/>
                <a:gd name="T18" fmla="*/ 676 w 711"/>
                <a:gd name="T19" fmla="*/ 983 h 983"/>
                <a:gd name="T20" fmla="*/ 677 w 711"/>
                <a:gd name="T21" fmla="*/ 983 h 983"/>
                <a:gd name="T22" fmla="*/ 711 w 711"/>
                <a:gd name="T23" fmla="*/ 950 h 983"/>
                <a:gd name="T24" fmla="*/ 678 w 711"/>
                <a:gd name="T25" fmla="*/ 915 h 9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11" h="983">
                  <a:moveTo>
                    <a:pt x="678" y="915"/>
                  </a:moveTo>
                  <a:cubicBezTo>
                    <a:pt x="470" y="911"/>
                    <a:pt x="285" y="874"/>
                    <a:pt x="154" y="755"/>
                  </a:cubicBezTo>
                  <a:cubicBezTo>
                    <a:pt x="110" y="712"/>
                    <a:pt x="69" y="647"/>
                    <a:pt x="69" y="562"/>
                  </a:cubicBezTo>
                  <a:cubicBezTo>
                    <a:pt x="69" y="34"/>
                    <a:pt x="69" y="34"/>
                    <a:pt x="69" y="34"/>
                  </a:cubicBezTo>
                  <a:cubicBezTo>
                    <a:pt x="69" y="15"/>
                    <a:pt x="53" y="0"/>
                    <a:pt x="34" y="0"/>
                  </a:cubicBezTo>
                  <a:cubicBezTo>
                    <a:pt x="16" y="0"/>
                    <a:pt x="0" y="15"/>
                    <a:pt x="0" y="34"/>
                  </a:cubicBezTo>
                  <a:cubicBezTo>
                    <a:pt x="0" y="562"/>
                    <a:pt x="0" y="562"/>
                    <a:pt x="0" y="562"/>
                  </a:cubicBezTo>
                  <a:cubicBezTo>
                    <a:pt x="0" y="562"/>
                    <a:pt x="0" y="562"/>
                    <a:pt x="0" y="562"/>
                  </a:cubicBezTo>
                  <a:cubicBezTo>
                    <a:pt x="1" y="670"/>
                    <a:pt x="53" y="753"/>
                    <a:pt x="108" y="805"/>
                  </a:cubicBezTo>
                  <a:cubicBezTo>
                    <a:pt x="259" y="942"/>
                    <a:pt x="462" y="980"/>
                    <a:pt x="676" y="983"/>
                  </a:cubicBezTo>
                  <a:cubicBezTo>
                    <a:pt x="677" y="983"/>
                    <a:pt x="677" y="983"/>
                    <a:pt x="677" y="983"/>
                  </a:cubicBezTo>
                  <a:cubicBezTo>
                    <a:pt x="695" y="983"/>
                    <a:pt x="711" y="969"/>
                    <a:pt x="711" y="950"/>
                  </a:cubicBezTo>
                  <a:cubicBezTo>
                    <a:pt x="711" y="931"/>
                    <a:pt x="697" y="915"/>
                    <a:pt x="678" y="91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3" name="Freeform 222"/>
            <p:cNvSpPr>
              <a:spLocks/>
            </p:cNvSpPr>
            <p:nvPr/>
          </p:nvSpPr>
          <p:spPr bwMode="black">
            <a:xfrm>
              <a:off x="1752600" y="4467929"/>
              <a:ext cx="670029" cy="926627"/>
            </a:xfrm>
            <a:custGeom>
              <a:avLst/>
              <a:gdLst>
                <a:gd name="T0" fmla="*/ 678 w 711"/>
                <a:gd name="T1" fmla="*/ 915 h 983"/>
                <a:gd name="T2" fmla="*/ 154 w 711"/>
                <a:gd name="T3" fmla="*/ 755 h 983"/>
                <a:gd name="T4" fmla="*/ 69 w 711"/>
                <a:gd name="T5" fmla="*/ 562 h 983"/>
                <a:gd name="T6" fmla="*/ 69 w 711"/>
                <a:gd name="T7" fmla="*/ 34 h 983"/>
                <a:gd name="T8" fmla="*/ 34 w 711"/>
                <a:gd name="T9" fmla="*/ 0 h 983"/>
                <a:gd name="T10" fmla="*/ 0 w 711"/>
                <a:gd name="T11" fmla="*/ 34 h 983"/>
                <a:gd name="T12" fmla="*/ 0 w 711"/>
                <a:gd name="T13" fmla="*/ 562 h 983"/>
                <a:gd name="T14" fmla="*/ 0 w 711"/>
                <a:gd name="T15" fmla="*/ 562 h 983"/>
                <a:gd name="T16" fmla="*/ 108 w 711"/>
                <a:gd name="T17" fmla="*/ 805 h 983"/>
                <a:gd name="T18" fmla="*/ 676 w 711"/>
                <a:gd name="T19" fmla="*/ 983 h 983"/>
                <a:gd name="T20" fmla="*/ 677 w 711"/>
                <a:gd name="T21" fmla="*/ 983 h 983"/>
                <a:gd name="T22" fmla="*/ 711 w 711"/>
                <a:gd name="T23" fmla="*/ 950 h 983"/>
                <a:gd name="T24" fmla="*/ 678 w 711"/>
                <a:gd name="T25" fmla="*/ 915 h 9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11" h="983">
                  <a:moveTo>
                    <a:pt x="678" y="915"/>
                  </a:moveTo>
                  <a:cubicBezTo>
                    <a:pt x="470" y="911"/>
                    <a:pt x="285" y="874"/>
                    <a:pt x="154" y="755"/>
                  </a:cubicBezTo>
                  <a:cubicBezTo>
                    <a:pt x="110" y="712"/>
                    <a:pt x="69" y="647"/>
                    <a:pt x="69" y="562"/>
                  </a:cubicBezTo>
                  <a:cubicBezTo>
                    <a:pt x="69" y="34"/>
                    <a:pt x="69" y="34"/>
                    <a:pt x="69" y="34"/>
                  </a:cubicBezTo>
                  <a:cubicBezTo>
                    <a:pt x="69" y="15"/>
                    <a:pt x="53" y="0"/>
                    <a:pt x="34" y="0"/>
                  </a:cubicBezTo>
                  <a:cubicBezTo>
                    <a:pt x="16" y="0"/>
                    <a:pt x="0" y="15"/>
                    <a:pt x="0" y="34"/>
                  </a:cubicBezTo>
                  <a:cubicBezTo>
                    <a:pt x="0" y="562"/>
                    <a:pt x="0" y="562"/>
                    <a:pt x="0" y="562"/>
                  </a:cubicBezTo>
                  <a:cubicBezTo>
                    <a:pt x="0" y="562"/>
                    <a:pt x="0" y="562"/>
                    <a:pt x="0" y="562"/>
                  </a:cubicBezTo>
                  <a:cubicBezTo>
                    <a:pt x="1" y="670"/>
                    <a:pt x="53" y="753"/>
                    <a:pt x="108" y="805"/>
                  </a:cubicBezTo>
                  <a:cubicBezTo>
                    <a:pt x="259" y="942"/>
                    <a:pt x="462" y="980"/>
                    <a:pt x="676" y="983"/>
                  </a:cubicBezTo>
                  <a:cubicBezTo>
                    <a:pt x="677" y="983"/>
                    <a:pt x="677" y="983"/>
                    <a:pt x="677" y="983"/>
                  </a:cubicBezTo>
                  <a:cubicBezTo>
                    <a:pt x="695" y="983"/>
                    <a:pt x="711" y="969"/>
                    <a:pt x="711" y="950"/>
                  </a:cubicBezTo>
                  <a:cubicBezTo>
                    <a:pt x="711" y="931"/>
                    <a:pt x="697" y="915"/>
                    <a:pt x="678" y="91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4" name="Freeform 223"/>
            <p:cNvSpPr>
              <a:spLocks/>
            </p:cNvSpPr>
            <p:nvPr/>
          </p:nvSpPr>
          <p:spPr bwMode="black">
            <a:xfrm>
              <a:off x="1977672" y="4663072"/>
              <a:ext cx="606178" cy="195940"/>
            </a:xfrm>
            <a:custGeom>
              <a:avLst/>
              <a:gdLst>
                <a:gd name="T0" fmla="*/ 643 w 643"/>
                <a:gd name="T1" fmla="*/ 132 h 208"/>
                <a:gd name="T2" fmla="*/ 438 w 643"/>
                <a:gd name="T3" fmla="*/ 150 h 208"/>
                <a:gd name="T4" fmla="*/ 0 w 643"/>
                <a:gd name="T5" fmla="*/ 0 h 208"/>
                <a:gd name="T6" fmla="*/ 0 w 643"/>
                <a:gd name="T7" fmla="*/ 103 h 208"/>
                <a:gd name="T8" fmla="*/ 39 w 643"/>
                <a:gd name="T9" fmla="*/ 130 h 208"/>
                <a:gd name="T10" fmla="*/ 438 w 643"/>
                <a:gd name="T11" fmla="*/ 208 h 208"/>
                <a:gd name="T12" fmla="*/ 606 w 643"/>
                <a:gd name="T13" fmla="*/ 197 h 208"/>
                <a:gd name="T14" fmla="*/ 643 w 643"/>
                <a:gd name="T15" fmla="*/ 132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43" h="208">
                  <a:moveTo>
                    <a:pt x="643" y="132"/>
                  </a:moveTo>
                  <a:cubicBezTo>
                    <a:pt x="582" y="143"/>
                    <a:pt x="512" y="150"/>
                    <a:pt x="438" y="150"/>
                  </a:cubicBezTo>
                  <a:cubicBezTo>
                    <a:pt x="196" y="150"/>
                    <a:pt x="0" y="82"/>
                    <a:pt x="0" y="0"/>
                  </a:cubicBezTo>
                  <a:cubicBezTo>
                    <a:pt x="0" y="103"/>
                    <a:pt x="0" y="103"/>
                    <a:pt x="0" y="103"/>
                  </a:cubicBezTo>
                  <a:cubicBezTo>
                    <a:pt x="12" y="113"/>
                    <a:pt x="25" y="121"/>
                    <a:pt x="39" y="130"/>
                  </a:cubicBezTo>
                  <a:cubicBezTo>
                    <a:pt x="130" y="180"/>
                    <a:pt x="273" y="208"/>
                    <a:pt x="438" y="208"/>
                  </a:cubicBezTo>
                  <a:cubicBezTo>
                    <a:pt x="497" y="208"/>
                    <a:pt x="554" y="204"/>
                    <a:pt x="606" y="197"/>
                  </a:cubicBezTo>
                  <a:cubicBezTo>
                    <a:pt x="615" y="174"/>
                    <a:pt x="628" y="152"/>
                    <a:pt x="643" y="13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5" name="Freeform 224"/>
            <p:cNvSpPr>
              <a:spLocks/>
            </p:cNvSpPr>
            <p:nvPr/>
          </p:nvSpPr>
          <p:spPr bwMode="black">
            <a:xfrm>
              <a:off x="1976076" y="4835467"/>
              <a:ext cx="555896" cy="196340"/>
            </a:xfrm>
            <a:custGeom>
              <a:avLst/>
              <a:gdLst>
                <a:gd name="T0" fmla="*/ 590 w 590"/>
                <a:gd name="T1" fmla="*/ 140 h 208"/>
                <a:gd name="T2" fmla="*/ 438 w 590"/>
                <a:gd name="T3" fmla="*/ 150 h 208"/>
                <a:gd name="T4" fmla="*/ 0 w 590"/>
                <a:gd name="T5" fmla="*/ 0 h 208"/>
                <a:gd name="T6" fmla="*/ 0 w 590"/>
                <a:gd name="T7" fmla="*/ 103 h 208"/>
                <a:gd name="T8" fmla="*/ 39 w 590"/>
                <a:gd name="T9" fmla="*/ 129 h 208"/>
                <a:gd name="T10" fmla="*/ 438 w 590"/>
                <a:gd name="T11" fmla="*/ 208 h 208"/>
                <a:gd name="T12" fmla="*/ 589 w 590"/>
                <a:gd name="T13" fmla="*/ 199 h 208"/>
                <a:gd name="T14" fmla="*/ 590 w 590"/>
                <a:gd name="T15" fmla="*/ 140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90" h="208">
                  <a:moveTo>
                    <a:pt x="590" y="140"/>
                  </a:moveTo>
                  <a:cubicBezTo>
                    <a:pt x="543" y="146"/>
                    <a:pt x="491" y="150"/>
                    <a:pt x="438" y="150"/>
                  </a:cubicBezTo>
                  <a:cubicBezTo>
                    <a:pt x="196" y="150"/>
                    <a:pt x="0" y="82"/>
                    <a:pt x="0" y="0"/>
                  </a:cubicBezTo>
                  <a:cubicBezTo>
                    <a:pt x="0" y="103"/>
                    <a:pt x="0" y="103"/>
                    <a:pt x="0" y="103"/>
                  </a:cubicBezTo>
                  <a:cubicBezTo>
                    <a:pt x="12" y="113"/>
                    <a:pt x="25" y="121"/>
                    <a:pt x="39" y="129"/>
                  </a:cubicBezTo>
                  <a:cubicBezTo>
                    <a:pt x="129" y="180"/>
                    <a:pt x="273" y="208"/>
                    <a:pt x="438" y="208"/>
                  </a:cubicBezTo>
                  <a:cubicBezTo>
                    <a:pt x="491" y="208"/>
                    <a:pt x="541" y="205"/>
                    <a:pt x="589" y="199"/>
                  </a:cubicBezTo>
                  <a:lnTo>
                    <a:pt x="590" y="14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6" name="Freeform 225"/>
            <p:cNvSpPr>
              <a:spLocks noEditPoints="1"/>
            </p:cNvSpPr>
            <p:nvPr/>
          </p:nvSpPr>
          <p:spPr bwMode="black">
            <a:xfrm>
              <a:off x="1886286" y="4267200"/>
              <a:ext cx="1011628" cy="995266"/>
            </a:xfrm>
            <a:custGeom>
              <a:avLst/>
              <a:gdLst>
                <a:gd name="T0" fmla="*/ 683 w 1073"/>
                <a:gd name="T1" fmla="*/ 951 h 1056"/>
                <a:gd name="T2" fmla="*/ 683 w 1073"/>
                <a:gd name="T3" fmla="*/ 947 h 1056"/>
                <a:gd name="T4" fmla="*/ 537 w 1073"/>
                <a:gd name="T5" fmla="*/ 957 h 1056"/>
                <a:gd name="T6" fmla="*/ 99 w 1073"/>
                <a:gd name="T7" fmla="*/ 776 h 1056"/>
                <a:gd name="T8" fmla="*/ 99 w 1073"/>
                <a:gd name="T9" fmla="*/ 623 h 1056"/>
                <a:gd name="T10" fmla="*/ 99 w 1073"/>
                <a:gd name="T11" fmla="*/ 520 h 1056"/>
                <a:gd name="T12" fmla="*/ 99 w 1073"/>
                <a:gd name="T13" fmla="*/ 352 h 1056"/>
                <a:gd name="T14" fmla="*/ 137 w 1073"/>
                <a:gd name="T15" fmla="*/ 379 h 1056"/>
                <a:gd name="T16" fmla="*/ 537 w 1073"/>
                <a:gd name="T17" fmla="*/ 458 h 1056"/>
                <a:gd name="T18" fmla="*/ 862 w 1073"/>
                <a:gd name="T19" fmla="*/ 411 h 1056"/>
                <a:gd name="T20" fmla="*/ 972 w 1073"/>
                <a:gd name="T21" fmla="*/ 355 h 1056"/>
                <a:gd name="T22" fmla="*/ 975 w 1073"/>
                <a:gd name="T23" fmla="*/ 352 h 1056"/>
                <a:gd name="T24" fmla="*/ 975 w 1073"/>
                <a:gd name="T25" fmla="*/ 460 h 1056"/>
                <a:gd name="T26" fmla="*/ 1067 w 1073"/>
                <a:gd name="T27" fmla="*/ 493 h 1056"/>
                <a:gd name="T28" fmla="*/ 1073 w 1073"/>
                <a:gd name="T29" fmla="*/ 494 h 1056"/>
                <a:gd name="T30" fmla="*/ 1073 w 1073"/>
                <a:gd name="T31" fmla="*/ 249 h 1056"/>
                <a:gd name="T32" fmla="*/ 1002 w 1073"/>
                <a:gd name="T33" fmla="*/ 114 h 1056"/>
                <a:gd name="T34" fmla="*/ 537 w 1073"/>
                <a:gd name="T35" fmla="*/ 0 h 1056"/>
                <a:gd name="T36" fmla="*/ 195 w 1073"/>
                <a:gd name="T37" fmla="*/ 49 h 1056"/>
                <a:gd name="T38" fmla="*/ 71 w 1073"/>
                <a:gd name="T39" fmla="*/ 114 h 1056"/>
                <a:gd name="T40" fmla="*/ 0 w 1073"/>
                <a:gd name="T41" fmla="*/ 249 h 1056"/>
                <a:gd name="T42" fmla="*/ 0 w 1073"/>
                <a:gd name="T43" fmla="*/ 776 h 1056"/>
                <a:gd name="T44" fmla="*/ 64 w 1073"/>
                <a:gd name="T45" fmla="*/ 917 h 1056"/>
                <a:gd name="T46" fmla="*/ 537 w 1073"/>
                <a:gd name="T47" fmla="*/ 1056 h 1056"/>
                <a:gd name="T48" fmla="*/ 681 w 1073"/>
                <a:gd name="T49" fmla="*/ 1047 h 1056"/>
                <a:gd name="T50" fmla="*/ 683 w 1073"/>
                <a:gd name="T51" fmla="*/ 951 h 1056"/>
                <a:gd name="T52" fmla="*/ 537 w 1073"/>
                <a:gd name="T53" fmla="*/ 99 h 1056"/>
                <a:gd name="T54" fmla="*/ 975 w 1073"/>
                <a:gd name="T55" fmla="*/ 249 h 1056"/>
                <a:gd name="T56" fmla="*/ 537 w 1073"/>
                <a:gd name="T57" fmla="*/ 399 h 1056"/>
                <a:gd name="T58" fmla="*/ 99 w 1073"/>
                <a:gd name="T59" fmla="*/ 249 h 1056"/>
                <a:gd name="T60" fmla="*/ 537 w 1073"/>
                <a:gd name="T61" fmla="*/ 99 h 10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73" h="1056">
                  <a:moveTo>
                    <a:pt x="683" y="951"/>
                  </a:moveTo>
                  <a:cubicBezTo>
                    <a:pt x="683" y="947"/>
                    <a:pt x="683" y="947"/>
                    <a:pt x="683" y="947"/>
                  </a:cubicBezTo>
                  <a:cubicBezTo>
                    <a:pt x="638" y="954"/>
                    <a:pt x="587" y="957"/>
                    <a:pt x="537" y="957"/>
                  </a:cubicBezTo>
                  <a:cubicBezTo>
                    <a:pt x="295" y="957"/>
                    <a:pt x="99" y="876"/>
                    <a:pt x="99" y="776"/>
                  </a:cubicBezTo>
                  <a:cubicBezTo>
                    <a:pt x="99" y="623"/>
                    <a:pt x="99" y="623"/>
                    <a:pt x="99" y="623"/>
                  </a:cubicBezTo>
                  <a:cubicBezTo>
                    <a:pt x="99" y="520"/>
                    <a:pt x="99" y="520"/>
                    <a:pt x="99" y="520"/>
                  </a:cubicBezTo>
                  <a:cubicBezTo>
                    <a:pt x="99" y="352"/>
                    <a:pt x="99" y="352"/>
                    <a:pt x="99" y="352"/>
                  </a:cubicBezTo>
                  <a:cubicBezTo>
                    <a:pt x="110" y="362"/>
                    <a:pt x="123" y="371"/>
                    <a:pt x="137" y="379"/>
                  </a:cubicBezTo>
                  <a:cubicBezTo>
                    <a:pt x="228" y="429"/>
                    <a:pt x="371" y="457"/>
                    <a:pt x="537" y="458"/>
                  </a:cubicBezTo>
                  <a:cubicBezTo>
                    <a:pt x="662" y="458"/>
                    <a:pt x="776" y="441"/>
                    <a:pt x="862" y="411"/>
                  </a:cubicBezTo>
                  <a:cubicBezTo>
                    <a:pt x="906" y="396"/>
                    <a:pt x="942" y="378"/>
                    <a:pt x="972" y="355"/>
                  </a:cubicBezTo>
                  <a:cubicBezTo>
                    <a:pt x="973" y="354"/>
                    <a:pt x="974" y="353"/>
                    <a:pt x="975" y="352"/>
                  </a:cubicBezTo>
                  <a:cubicBezTo>
                    <a:pt x="975" y="460"/>
                    <a:pt x="975" y="460"/>
                    <a:pt x="975" y="460"/>
                  </a:cubicBezTo>
                  <a:cubicBezTo>
                    <a:pt x="1008" y="465"/>
                    <a:pt x="1039" y="476"/>
                    <a:pt x="1067" y="493"/>
                  </a:cubicBezTo>
                  <a:cubicBezTo>
                    <a:pt x="1069" y="493"/>
                    <a:pt x="1071" y="493"/>
                    <a:pt x="1073" y="494"/>
                  </a:cubicBezTo>
                  <a:cubicBezTo>
                    <a:pt x="1073" y="249"/>
                    <a:pt x="1073" y="249"/>
                    <a:pt x="1073" y="249"/>
                  </a:cubicBezTo>
                  <a:cubicBezTo>
                    <a:pt x="1073" y="187"/>
                    <a:pt x="1037" y="141"/>
                    <a:pt x="1002" y="114"/>
                  </a:cubicBezTo>
                  <a:cubicBezTo>
                    <a:pt x="896" y="33"/>
                    <a:pt x="733" y="3"/>
                    <a:pt x="537" y="0"/>
                  </a:cubicBezTo>
                  <a:cubicBezTo>
                    <a:pt x="406" y="0"/>
                    <a:pt x="288" y="18"/>
                    <a:pt x="195" y="49"/>
                  </a:cubicBezTo>
                  <a:cubicBezTo>
                    <a:pt x="148" y="66"/>
                    <a:pt x="107" y="85"/>
                    <a:pt x="71" y="114"/>
                  </a:cubicBezTo>
                  <a:cubicBezTo>
                    <a:pt x="36" y="141"/>
                    <a:pt x="0" y="187"/>
                    <a:pt x="0" y="249"/>
                  </a:cubicBezTo>
                  <a:cubicBezTo>
                    <a:pt x="0" y="776"/>
                    <a:pt x="0" y="776"/>
                    <a:pt x="0" y="776"/>
                  </a:cubicBezTo>
                  <a:cubicBezTo>
                    <a:pt x="0" y="835"/>
                    <a:pt x="29" y="884"/>
                    <a:pt x="64" y="917"/>
                  </a:cubicBezTo>
                  <a:cubicBezTo>
                    <a:pt x="169" y="1014"/>
                    <a:pt x="338" y="1053"/>
                    <a:pt x="537" y="1056"/>
                  </a:cubicBezTo>
                  <a:cubicBezTo>
                    <a:pt x="586" y="1056"/>
                    <a:pt x="636" y="1053"/>
                    <a:pt x="681" y="1047"/>
                  </a:cubicBezTo>
                  <a:lnTo>
                    <a:pt x="683" y="951"/>
                  </a:lnTo>
                  <a:close/>
                  <a:moveTo>
                    <a:pt x="537" y="99"/>
                  </a:moveTo>
                  <a:cubicBezTo>
                    <a:pt x="778" y="99"/>
                    <a:pt x="975" y="166"/>
                    <a:pt x="975" y="249"/>
                  </a:cubicBezTo>
                  <a:cubicBezTo>
                    <a:pt x="975" y="332"/>
                    <a:pt x="778" y="399"/>
                    <a:pt x="537" y="399"/>
                  </a:cubicBezTo>
                  <a:cubicBezTo>
                    <a:pt x="295" y="399"/>
                    <a:pt x="99" y="332"/>
                    <a:pt x="99" y="249"/>
                  </a:cubicBezTo>
                  <a:cubicBezTo>
                    <a:pt x="99" y="166"/>
                    <a:pt x="295" y="99"/>
                    <a:pt x="537" y="9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39561586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ppt_x"/>
                                          </p:val>
                                        </p:tav>
                                        <p:tav tm="100000">
                                          <p:val>
                                            <p:strVal val="#ppt_x"/>
                                          </p:val>
                                        </p:tav>
                                      </p:tavLst>
                                    </p:anim>
                                    <p:anim calcmode="lin" valueType="num">
                                      <p:cBhvr additive="base">
                                        <p:cTn id="8" dur="500" fill="hold"/>
                                        <p:tgtEl>
                                          <p:spTgt spid="7"/>
                                        </p:tgtEl>
                                        <p:attrNameLst>
                                          <p:attrName>ppt_y</p:attrName>
                                        </p:attrNameLst>
                                      </p:cBhvr>
                                      <p:tavLst>
                                        <p:tav tm="0">
                                          <p:val>
                                            <p:strVal val="1+#ppt_h/2"/>
                                          </p:val>
                                        </p:tav>
                                        <p:tav tm="100000">
                                          <p:val>
                                            <p:strVal val="#ppt_y"/>
                                          </p:val>
                                        </p:tav>
                                      </p:tavLst>
                                    </p:anim>
                                  </p:childTnLst>
                                </p:cTn>
                              </p:par>
                              <p:par>
                                <p:cTn id="9" presetID="2" presetClass="entr" presetSubtype="4" decel="100000" fill="hold" nodeType="withEffect">
                                  <p:stCondLst>
                                    <p:cond delay="250"/>
                                  </p:stCondLst>
                                  <p:childTnLst>
                                    <p:set>
                                      <p:cBhvr>
                                        <p:cTn id="10" dur="1" fill="hold">
                                          <p:stCondLst>
                                            <p:cond delay="0"/>
                                          </p:stCondLst>
                                        </p:cTn>
                                        <p:tgtEl>
                                          <p:spTgt spid="9"/>
                                        </p:tgtEl>
                                        <p:attrNameLst>
                                          <p:attrName>style.visibility</p:attrName>
                                        </p:attrNameLst>
                                      </p:cBhvr>
                                      <p:to>
                                        <p:strVal val="visible"/>
                                      </p:to>
                                    </p:set>
                                    <p:anim calcmode="lin" valueType="num">
                                      <p:cBhvr additive="base">
                                        <p:cTn id="11" dur="500" fill="hold"/>
                                        <p:tgtEl>
                                          <p:spTgt spid="9"/>
                                        </p:tgtEl>
                                        <p:attrNameLst>
                                          <p:attrName>ppt_x</p:attrName>
                                        </p:attrNameLst>
                                      </p:cBhvr>
                                      <p:tavLst>
                                        <p:tav tm="0">
                                          <p:val>
                                            <p:strVal val="#ppt_x"/>
                                          </p:val>
                                        </p:tav>
                                        <p:tav tm="100000">
                                          <p:val>
                                            <p:strVal val="#ppt_x"/>
                                          </p:val>
                                        </p:tav>
                                      </p:tavLst>
                                    </p:anim>
                                    <p:anim calcmode="lin" valueType="num">
                                      <p:cBhvr additive="base">
                                        <p:cTn id="12" dur="500" fill="hold"/>
                                        <p:tgtEl>
                                          <p:spTgt spid="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241975089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3091"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4" name="Title 3"/>
          <p:cNvSpPr>
            <a:spLocks noGrp="1"/>
          </p:cNvSpPr>
          <p:nvPr>
            <p:ph type="ctrTitle"/>
            <p:custDataLst>
              <p:tags r:id="rId3"/>
            </p:custDataLst>
          </p:nvPr>
        </p:nvSpPr>
        <p:spPr/>
        <p:txBody>
          <a:bodyPr/>
          <a:lstStyle/>
          <a:p>
            <a:r>
              <a:rPr lang="en-US" smtClean="0"/>
              <a:t>Configuring your </a:t>
            </a:r>
            <a:br>
              <a:rPr lang="en-US" smtClean="0"/>
            </a:br>
            <a:r>
              <a:rPr lang="en-US" smtClean="0"/>
              <a:t>Web API</a:t>
            </a:r>
            <a:endParaRPr lang="en-US" dirty="0"/>
          </a:p>
        </p:txBody>
      </p:sp>
      <p:sp>
        <p:nvSpPr>
          <p:cNvPr id="7" name="Subtitle 6"/>
          <p:cNvSpPr>
            <a:spLocks noGrp="1"/>
          </p:cNvSpPr>
          <p:nvPr>
            <p:ph type="subTitle" idx="1"/>
          </p:nvPr>
        </p:nvSpPr>
        <p:spPr/>
        <p:txBody>
          <a:bodyPr/>
          <a:lstStyle/>
          <a:p>
            <a:endParaRPr lang="en-US"/>
          </a:p>
        </p:txBody>
      </p:sp>
      <p:sp>
        <p:nvSpPr>
          <p:cNvPr id="6" name="Text Placeholder 5"/>
          <p:cNvSpPr>
            <a:spLocks noGrp="1"/>
          </p:cNvSpPr>
          <p:nvPr>
            <p:ph type="body" sz="quarter" idx="10"/>
          </p:nvPr>
        </p:nvSpPr>
        <p:spPr/>
        <p:txBody>
          <a:bodyPr/>
          <a:lstStyle/>
          <a:p>
            <a:r>
              <a:rPr lang="en-US" smtClean="0"/>
              <a:t>demo</a:t>
            </a:r>
            <a:endParaRPr lang="en-US" dirty="0"/>
          </a:p>
        </p:txBody>
      </p:sp>
    </p:spTree>
    <p:extLst>
      <p:ext uri="{BB962C8B-B14F-4D97-AF65-F5344CB8AC3E}">
        <p14:creationId xmlns:p14="http://schemas.microsoft.com/office/powerpoint/2010/main" val="11497276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61274376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4118"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smtClean="0"/>
              <a:t>Configuring Your Web API</a:t>
            </a:r>
            <a:endParaRPr lang="en-US" dirty="0"/>
          </a:p>
        </p:txBody>
      </p:sp>
      <p:sp>
        <p:nvSpPr>
          <p:cNvPr id="3" name="Content Placeholder 2"/>
          <p:cNvSpPr>
            <a:spLocks noGrp="1"/>
          </p:cNvSpPr>
          <p:nvPr>
            <p:ph type="body" sz="quarter" idx="10"/>
            <p:custDataLst>
              <p:tags r:id="rId4"/>
            </p:custDataLst>
          </p:nvPr>
        </p:nvSpPr>
        <p:spPr>
          <a:xfrm>
            <a:off x="519112" y="1420813"/>
            <a:ext cx="11149013" cy="3077766"/>
          </a:xfrm>
        </p:spPr>
        <p:txBody>
          <a:bodyPr/>
          <a:lstStyle/>
          <a:p>
            <a:pPr>
              <a:spcAft>
                <a:spcPts val="1200"/>
              </a:spcAft>
            </a:pPr>
            <a:r>
              <a:rPr lang="en-US" sz="4000" dirty="0">
                <a:gradFill>
                  <a:gsLst>
                    <a:gs pos="0">
                      <a:schemeClr val="accent2"/>
                    </a:gs>
                    <a:gs pos="100000">
                      <a:schemeClr val="accent2"/>
                    </a:gs>
                  </a:gsLst>
                  <a:lin ang="5400000" scaled="0"/>
                </a:gradFill>
                <a:latin typeface="Segoe UI Light" pitchFamily="34" charset="0"/>
              </a:rPr>
              <a:t>HttpConfiguration provides a code </a:t>
            </a:r>
            <a:r>
              <a:rPr lang="en-US" sz="4000" dirty="0" smtClean="0">
                <a:gradFill>
                  <a:gsLst>
                    <a:gs pos="0">
                      <a:schemeClr val="accent2"/>
                    </a:gs>
                    <a:gs pos="100000">
                      <a:schemeClr val="accent2"/>
                    </a:gs>
                  </a:gsLst>
                  <a:lin ang="5400000" scaled="0"/>
                </a:gradFill>
                <a:latin typeface="Segoe UI Light" pitchFamily="34" charset="0"/>
              </a:rPr>
              <a:t>based </a:t>
            </a:r>
            <a:br>
              <a:rPr lang="en-US" sz="4000" dirty="0" smtClean="0">
                <a:gradFill>
                  <a:gsLst>
                    <a:gs pos="0">
                      <a:schemeClr val="accent2"/>
                    </a:gs>
                    <a:gs pos="100000">
                      <a:schemeClr val="accent2"/>
                    </a:gs>
                  </a:gsLst>
                  <a:lin ang="5400000" scaled="0"/>
                </a:gradFill>
                <a:latin typeface="Segoe UI Light" pitchFamily="34" charset="0"/>
              </a:rPr>
            </a:br>
            <a:r>
              <a:rPr lang="en-US" sz="4000" dirty="0" smtClean="0">
                <a:gradFill>
                  <a:gsLst>
                    <a:gs pos="0">
                      <a:schemeClr val="accent2"/>
                    </a:gs>
                    <a:gs pos="100000">
                      <a:schemeClr val="accent2"/>
                    </a:gs>
                  </a:gsLst>
                  <a:lin ang="5400000" scaled="0"/>
                </a:gradFill>
                <a:latin typeface="Segoe UI Light" pitchFamily="34" charset="0"/>
              </a:rPr>
              <a:t>configuration </a:t>
            </a:r>
            <a:r>
              <a:rPr lang="en-US" sz="4000" dirty="0">
                <a:gradFill>
                  <a:gsLst>
                    <a:gs pos="0">
                      <a:schemeClr val="accent2"/>
                    </a:gs>
                    <a:gs pos="100000">
                      <a:schemeClr val="accent2"/>
                    </a:gs>
                  </a:gsLst>
                  <a:lin ang="5400000" scaled="0"/>
                </a:gradFill>
                <a:latin typeface="Segoe UI Light" pitchFamily="34" charset="0"/>
              </a:rPr>
              <a:t>mechanism</a:t>
            </a:r>
          </a:p>
          <a:p>
            <a:pPr>
              <a:spcAft>
                <a:spcPts val="1200"/>
              </a:spcAft>
            </a:pPr>
            <a:r>
              <a:rPr lang="en-US" sz="4000" dirty="0">
                <a:solidFill>
                  <a:schemeClr val="tx2">
                    <a:alpha val="99000"/>
                  </a:schemeClr>
                </a:solidFill>
                <a:latin typeface="Segoe UI Light" pitchFamily="34" charset="0"/>
              </a:rPr>
              <a:t>New it up directly or derive from </a:t>
            </a:r>
            <a:r>
              <a:rPr lang="en-US" sz="4000" dirty="0" smtClean="0">
                <a:solidFill>
                  <a:schemeClr val="tx2">
                    <a:alpha val="99000"/>
                  </a:schemeClr>
                </a:solidFill>
                <a:latin typeface="Segoe UI Light" pitchFamily="34" charset="0"/>
              </a:rPr>
              <a:t>it </a:t>
            </a:r>
          </a:p>
          <a:p>
            <a:pPr>
              <a:spcAft>
                <a:spcPts val="1200"/>
              </a:spcAft>
            </a:pPr>
            <a:r>
              <a:rPr lang="en-US" sz="4000" dirty="0" smtClean="0">
                <a:gradFill>
                  <a:gsLst>
                    <a:gs pos="0">
                      <a:schemeClr val="accent2"/>
                    </a:gs>
                    <a:gs pos="100000">
                      <a:schemeClr val="accent2"/>
                    </a:gs>
                  </a:gsLst>
                  <a:lin ang="5400000" scaled="0"/>
                </a:gradFill>
                <a:latin typeface="Segoe UI Light" pitchFamily="34" charset="0"/>
              </a:rPr>
              <a:t>Pass </a:t>
            </a:r>
            <a:r>
              <a:rPr lang="en-US" sz="4000" dirty="0" err="1">
                <a:gradFill>
                  <a:gsLst>
                    <a:gs pos="0">
                      <a:schemeClr val="accent2"/>
                    </a:gs>
                    <a:gs pos="100000">
                      <a:schemeClr val="accent2"/>
                    </a:gs>
                  </a:gsLst>
                  <a:lin ang="5400000" scaled="0"/>
                </a:gradFill>
                <a:latin typeface="Segoe UI Light" pitchFamily="34" charset="0"/>
              </a:rPr>
              <a:t>config</a:t>
            </a:r>
            <a:r>
              <a:rPr lang="en-US" sz="4000" dirty="0">
                <a:gradFill>
                  <a:gsLst>
                    <a:gs pos="0">
                      <a:schemeClr val="accent2"/>
                    </a:gs>
                    <a:gs pos="100000">
                      <a:schemeClr val="accent2"/>
                    </a:gs>
                  </a:gsLst>
                  <a:lin ang="5400000" scaled="0"/>
                </a:gradFill>
                <a:latin typeface="Segoe UI Light" pitchFamily="34" charset="0"/>
              </a:rPr>
              <a:t> </a:t>
            </a:r>
            <a:r>
              <a:rPr lang="en-US" sz="4000" dirty="0" smtClean="0">
                <a:gradFill>
                  <a:gsLst>
                    <a:gs pos="0">
                      <a:schemeClr val="accent2"/>
                    </a:gs>
                    <a:gs pos="100000">
                      <a:schemeClr val="accent2"/>
                    </a:gs>
                  </a:gsLst>
                  <a:lin ang="5400000" scaled="0"/>
                </a:gradFill>
                <a:latin typeface="Segoe UI Light" pitchFamily="34" charset="0"/>
              </a:rPr>
              <a:t>to </a:t>
            </a:r>
            <a:r>
              <a:rPr lang="en-US" sz="4000" dirty="0" err="1" smtClean="0">
                <a:gradFill>
                  <a:gsLst>
                    <a:gs pos="0">
                      <a:schemeClr val="accent2"/>
                    </a:gs>
                    <a:gs pos="100000">
                      <a:schemeClr val="accent2"/>
                    </a:gs>
                  </a:gsLst>
                  <a:lin ang="5400000" scaled="0"/>
                </a:gradFill>
                <a:latin typeface="Segoe UI Light" pitchFamily="34" charset="0"/>
              </a:rPr>
              <a:t>HttpServiceHostFactory</a:t>
            </a:r>
            <a:r>
              <a:rPr lang="en-US" sz="4000" dirty="0" smtClean="0">
                <a:gradFill>
                  <a:gsLst>
                    <a:gs pos="0">
                      <a:schemeClr val="accent2"/>
                    </a:gs>
                    <a:gs pos="100000">
                      <a:schemeClr val="accent2"/>
                    </a:gs>
                  </a:gsLst>
                  <a:lin ang="5400000" scaled="0"/>
                </a:gradFill>
                <a:latin typeface="Segoe UI Light" pitchFamily="34" charset="0"/>
              </a:rPr>
              <a:t>/</a:t>
            </a:r>
            <a:r>
              <a:rPr lang="en-US" sz="4000" dirty="0" err="1" smtClean="0">
                <a:gradFill>
                  <a:gsLst>
                    <a:gs pos="0">
                      <a:schemeClr val="accent2"/>
                    </a:gs>
                    <a:gs pos="100000">
                      <a:schemeClr val="accent2"/>
                    </a:gs>
                  </a:gsLst>
                  <a:lin ang="5400000" scaled="0"/>
                </a:gradFill>
                <a:latin typeface="Segoe UI Light" pitchFamily="34" charset="0"/>
              </a:rPr>
              <a:t>HttpServiceHost</a:t>
            </a:r>
            <a:endParaRPr lang="en-US" sz="4000" dirty="0">
              <a:gradFill>
                <a:gsLst>
                  <a:gs pos="0">
                    <a:schemeClr val="accent2"/>
                  </a:gs>
                  <a:gs pos="100000">
                    <a:schemeClr val="accent2"/>
                  </a:gs>
                </a:gsLst>
                <a:lin ang="5400000" scaled="0"/>
              </a:gradFill>
              <a:latin typeface="Segoe UI Light" pitchFamily="34" charset="0"/>
            </a:endParaRPr>
          </a:p>
        </p:txBody>
      </p:sp>
      <p:sp>
        <p:nvSpPr>
          <p:cNvPr id="5" name="Freeform 81"/>
          <p:cNvSpPr>
            <a:spLocks noEditPoints="1"/>
          </p:cNvSpPr>
          <p:nvPr/>
        </p:nvSpPr>
        <p:spPr bwMode="black">
          <a:xfrm>
            <a:off x="8419158" y="4619500"/>
            <a:ext cx="3247148" cy="1982149"/>
          </a:xfrm>
          <a:custGeom>
            <a:avLst/>
            <a:gdLst>
              <a:gd name="T0" fmla="*/ 1588 w 3451"/>
              <a:gd name="T1" fmla="*/ 2110 h 2110"/>
              <a:gd name="T2" fmla="*/ 2100 w 3451"/>
              <a:gd name="T3" fmla="*/ 1951 h 2110"/>
              <a:gd name="T4" fmla="*/ 1141 w 3451"/>
              <a:gd name="T5" fmla="*/ 1911 h 2110"/>
              <a:gd name="T6" fmla="*/ 1215 w 3451"/>
              <a:gd name="T7" fmla="*/ 1929 h 2110"/>
              <a:gd name="T8" fmla="*/ 1799 w 3451"/>
              <a:gd name="T9" fmla="*/ 2021 h 2110"/>
              <a:gd name="T10" fmla="*/ 2036 w 3451"/>
              <a:gd name="T11" fmla="*/ 1911 h 2110"/>
              <a:gd name="T12" fmla="*/ 1121 w 3451"/>
              <a:gd name="T13" fmla="*/ 1193 h 2110"/>
              <a:gd name="T14" fmla="*/ 1992 w 3451"/>
              <a:gd name="T15" fmla="*/ 1211 h 2110"/>
              <a:gd name="T16" fmla="*/ 2497 w 3451"/>
              <a:gd name="T17" fmla="*/ 803 h 2110"/>
              <a:gd name="T18" fmla="*/ 975 w 3451"/>
              <a:gd name="T19" fmla="*/ 240 h 2110"/>
              <a:gd name="T20" fmla="*/ 1616 w 3451"/>
              <a:gd name="T21" fmla="*/ 736 h 2110"/>
              <a:gd name="T22" fmla="*/ 2006 w 3451"/>
              <a:gd name="T23" fmla="*/ 508 h 2110"/>
              <a:gd name="T24" fmla="*/ 1990 w 3451"/>
              <a:gd name="T25" fmla="*/ 320 h 2110"/>
              <a:gd name="T26" fmla="*/ 2004 w 3451"/>
              <a:gd name="T27" fmla="*/ 426 h 2110"/>
              <a:gd name="T28" fmla="*/ 2038 w 3451"/>
              <a:gd name="T29" fmla="*/ 1120 h 2110"/>
              <a:gd name="T30" fmla="*/ 2304 w 3451"/>
              <a:gd name="T31" fmla="*/ 985 h 2110"/>
              <a:gd name="T32" fmla="*/ 2225 w 3451"/>
              <a:gd name="T33" fmla="*/ 465 h 2110"/>
              <a:gd name="T34" fmla="*/ 2219 w 3451"/>
              <a:gd name="T35" fmla="*/ 477 h 2110"/>
              <a:gd name="T36" fmla="*/ 1844 w 3451"/>
              <a:gd name="T37" fmla="*/ 192 h 2110"/>
              <a:gd name="T38" fmla="*/ 1818 w 3451"/>
              <a:gd name="T39" fmla="*/ 109 h 2110"/>
              <a:gd name="T40" fmla="*/ 1133 w 3451"/>
              <a:gd name="T41" fmla="*/ 1121 h 2110"/>
              <a:gd name="T42" fmla="*/ 1171 w 3451"/>
              <a:gd name="T43" fmla="*/ 951 h 2110"/>
              <a:gd name="T44" fmla="*/ 1115 w 3451"/>
              <a:gd name="T45" fmla="*/ 350 h 2110"/>
              <a:gd name="T46" fmla="*/ 1155 w 3451"/>
              <a:gd name="T47" fmla="*/ 517 h 2110"/>
              <a:gd name="T48" fmla="*/ 1265 w 3451"/>
              <a:gd name="T49" fmla="*/ 843 h 2110"/>
              <a:gd name="T50" fmla="*/ 1555 w 3451"/>
              <a:gd name="T51" fmla="*/ 284 h 2110"/>
              <a:gd name="T52" fmla="*/ 1353 w 3451"/>
              <a:gd name="T53" fmla="*/ 109 h 2110"/>
              <a:gd name="T54" fmla="*/ 1221 w 3451"/>
              <a:gd name="T55" fmla="*/ 201 h 2110"/>
              <a:gd name="T56" fmla="*/ 923 w 3451"/>
              <a:gd name="T57" fmla="*/ 379 h 2110"/>
              <a:gd name="T58" fmla="*/ 945 w 3451"/>
              <a:gd name="T59" fmla="*/ 466 h 2110"/>
              <a:gd name="T60" fmla="*/ 447 w 3451"/>
              <a:gd name="T61" fmla="*/ 993 h 2110"/>
              <a:gd name="T62" fmla="*/ 2737 w 3451"/>
              <a:gd name="T63" fmla="*/ 1157 h 2110"/>
              <a:gd name="T64" fmla="*/ 1748 w 3451"/>
              <a:gd name="T65" fmla="*/ 1552 h 2110"/>
              <a:gd name="T66" fmla="*/ 2015 w 3451"/>
              <a:gd name="T67" fmla="*/ 1319 h 2110"/>
              <a:gd name="T68" fmla="*/ 581 w 3451"/>
              <a:gd name="T69" fmla="*/ 1265 h 2110"/>
              <a:gd name="T70" fmla="*/ 1557 w 3451"/>
              <a:gd name="T71" fmla="*/ 1799 h 2110"/>
              <a:gd name="T72" fmla="*/ 2476 w 3451"/>
              <a:gd name="T73" fmla="*/ 1476 h 2110"/>
              <a:gd name="T74" fmla="*/ 123 w 3451"/>
              <a:gd name="T75" fmla="*/ 1195 h 2110"/>
              <a:gd name="T76" fmla="*/ 231 w 3451"/>
              <a:gd name="T77" fmla="*/ 956 h 2110"/>
              <a:gd name="T78" fmla="*/ 530 w 3451"/>
              <a:gd name="T79" fmla="*/ 1074 h 2110"/>
              <a:gd name="T80" fmla="*/ 658 w 3451"/>
              <a:gd name="T81" fmla="*/ 1255 h 2110"/>
              <a:gd name="T82" fmla="*/ 628 w 3451"/>
              <a:gd name="T83" fmla="*/ 1016 h 2110"/>
              <a:gd name="T84" fmla="*/ 724 w 3451"/>
              <a:gd name="T85" fmla="*/ 1343 h 2110"/>
              <a:gd name="T86" fmla="*/ 824 w 3451"/>
              <a:gd name="T87" fmla="*/ 1434 h 2110"/>
              <a:gd name="T88" fmla="*/ 767 w 3451"/>
              <a:gd name="T89" fmla="*/ 1212 h 2110"/>
              <a:gd name="T90" fmla="*/ 927 w 3451"/>
              <a:gd name="T91" fmla="*/ 1501 h 2110"/>
              <a:gd name="T92" fmla="*/ 988 w 3451"/>
              <a:gd name="T93" fmla="*/ 1427 h 2110"/>
              <a:gd name="T94" fmla="*/ 1270 w 3451"/>
              <a:gd name="T95" fmla="*/ 1671 h 2110"/>
              <a:gd name="T96" fmla="*/ 1264 w 3451"/>
              <a:gd name="T97" fmla="*/ 1444 h 2110"/>
              <a:gd name="T98" fmla="*/ 1501 w 3451"/>
              <a:gd name="T99" fmla="*/ 1703 h 2110"/>
              <a:gd name="T100" fmla="*/ 1695 w 3451"/>
              <a:gd name="T101" fmla="*/ 1440 h 2110"/>
              <a:gd name="T102" fmla="*/ 2020 w 3451"/>
              <a:gd name="T103" fmla="*/ 1654 h 2110"/>
              <a:gd name="T104" fmla="*/ 1901 w 3451"/>
              <a:gd name="T105" fmla="*/ 1457 h 2110"/>
              <a:gd name="T106" fmla="*/ 2053 w 3451"/>
              <a:gd name="T107" fmla="*/ 1600 h 2110"/>
              <a:gd name="T108" fmla="*/ 2208 w 3451"/>
              <a:gd name="T109" fmla="*/ 1543 h 2110"/>
              <a:gd name="T110" fmla="*/ 2294 w 3451"/>
              <a:gd name="T111" fmla="*/ 1280 h 2110"/>
              <a:gd name="T112" fmla="*/ 2386 w 3451"/>
              <a:gd name="T113" fmla="*/ 1486 h 2110"/>
              <a:gd name="T114" fmla="*/ 2473 w 3451"/>
              <a:gd name="T115" fmla="*/ 1155 h 2110"/>
              <a:gd name="T116" fmla="*/ 2654 w 3451"/>
              <a:gd name="T117" fmla="*/ 1074 h 2110"/>
              <a:gd name="T118" fmla="*/ 2954 w 3451"/>
              <a:gd name="T119" fmla="*/ 1154 h 2110"/>
              <a:gd name="T120" fmla="*/ 3062 w 3451"/>
              <a:gd name="T121" fmla="*/ 1154 h 2110"/>
              <a:gd name="T122" fmla="*/ 1038 w 3451"/>
              <a:gd name="T123" fmla="*/ 1498 h 2110"/>
              <a:gd name="T124" fmla="*/ 2472 w 3451"/>
              <a:gd name="T125" fmla="*/ 1231 h 2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451" h="2110">
                <a:moveTo>
                  <a:pt x="1585" y="1902"/>
                </a:moveTo>
                <a:cubicBezTo>
                  <a:pt x="1383" y="1902"/>
                  <a:pt x="1184" y="1867"/>
                  <a:pt x="1012" y="1802"/>
                </a:cubicBezTo>
                <a:cubicBezTo>
                  <a:pt x="945" y="1776"/>
                  <a:pt x="884" y="1747"/>
                  <a:pt x="828" y="1714"/>
                </a:cubicBezTo>
                <a:cubicBezTo>
                  <a:pt x="896" y="1807"/>
                  <a:pt x="980" y="1887"/>
                  <a:pt x="1077" y="1951"/>
                </a:cubicBezTo>
                <a:cubicBezTo>
                  <a:pt x="1119" y="1979"/>
                  <a:pt x="1165" y="2004"/>
                  <a:pt x="1212" y="2026"/>
                </a:cubicBezTo>
                <a:cubicBezTo>
                  <a:pt x="1264" y="2049"/>
                  <a:pt x="1318" y="2068"/>
                  <a:pt x="1375" y="2082"/>
                </a:cubicBezTo>
                <a:cubicBezTo>
                  <a:pt x="1443" y="2099"/>
                  <a:pt x="1515" y="2108"/>
                  <a:pt x="1588" y="2110"/>
                </a:cubicBezTo>
                <a:cubicBezTo>
                  <a:pt x="1588" y="2110"/>
                  <a:pt x="1588" y="2110"/>
                  <a:pt x="1588" y="2110"/>
                </a:cubicBezTo>
                <a:cubicBezTo>
                  <a:pt x="1588" y="2110"/>
                  <a:pt x="1588" y="2110"/>
                  <a:pt x="1588" y="2110"/>
                </a:cubicBezTo>
                <a:cubicBezTo>
                  <a:pt x="1588" y="2110"/>
                  <a:pt x="1588" y="2110"/>
                  <a:pt x="1588" y="2110"/>
                </a:cubicBezTo>
                <a:cubicBezTo>
                  <a:pt x="1588" y="2110"/>
                  <a:pt x="1588" y="2110"/>
                  <a:pt x="1588" y="2110"/>
                </a:cubicBezTo>
                <a:cubicBezTo>
                  <a:pt x="1662" y="2108"/>
                  <a:pt x="1733" y="2099"/>
                  <a:pt x="1802" y="2082"/>
                </a:cubicBezTo>
                <a:cubicBezTo>
                  <a:pt x="1858" y="2068"/>
                  <a:pt x="1913" y="2049"/>
                  <a:pt x="1965" y="2026"/>
                </a:cubicBezTo>
                <a:cubicBezTo>
                  <a:pt x="2012" y="2004"/>
                  <a:pt x="2057" y="1979"/>
                  <a:pt x="2100" y="1951"/>
                </a:cubicBezTo>
                <a:cubicBezTo>
                  <a:pt x="2199" y="1886"/>
                  <a:pt x="2285" y="1802"/>
                  <a:pt x="2354" y="1706"/>
                </a:cubicBezTo>
                <a:cubicBezTo>
                  <a:pt x="2264" y="1761"/>
                  <a:pt x="2159" y="1806"/>
                  <a:pt x="2045" y="1839"/>
                </a:cubicBezTo>
                <a:cubicBezTo>
                  <a:pt x="1899" y="1881"/>
                  <a:pt x="1744" y="1902"/>
                  <a:pt x="1585" y="1902"/>
                </a:cubicBezTo>
                <a:close/>
                <a:moveTo>
                  <a:pt x="1104" y="1897"/>
                </a:moveTo>
                <a:cubicBezTo>
                  <a:pt x="1087" y="1886"/>
                  <a:pt x="1071" y="1874"/>
                  <a:pt x="1054" y="1861"/>
                </a:cubicBezTo>
                <a:cubicBezTo>
                  <a:pt x="1080" y="1873"/>
                  <a:pt x="1107" y="1883"/>
                  <a:pt x="1134" y="1893"/>
                </a:cubicBezTo>
                <a:cubicBezTo>
                  <a:pt x="1136" y="1899"/>
                  <a:pt x="1138" y="1905"/>
                  <a:pt x="1141" y="1911"/>
                </a:cubicBezTo>
                <a:cubicBezTo>
                  <a:pt x="1128" y="1907"/>
                  <a:pt x="1116" y="1902"/>
                  <a:pt x="1104" y="1897"/>
                </a:cubicBezTo>
                <a:close/>
                <a:moveTo>
                  <a:pt x="1557" y="2049"/>
                </a:moveTo>
                <a:cubicBezTo>
                  <a:pt x="1532" y="2048"/>
                  <a:pt x="1513" y="2045"/>
                  <a:pt x="1488" y="2042"/>
                </a:cubicBezTo>
                <a:cubicBezTo>
                  <a:pt x="1451" y="2037"/>
                  <a:pt x="1414" y="2030"/>
                  <a:pt x="1378" y="2021"/>
                </a:cubicBezTo>
                <a:cubicBezTo>
                  <a:pt x="1353" y="2014"/>
                  <a:pt x="1328" y="2007"/>
                  <a:pt x="1304" y="1998"/>
                </a:cubicBezTo>
                <a:cubicBezTo>
                  <a:pt x="1284" y="1991"/>
                  <a:pt x="1265" y="1983"/>
                  <a:pt x="1247" y="1975"/>
                </a:cubicBezTo>
                <a:cubicBezTo>
                  <a:pt x="1235" y="1962"/>
                  <a:pt x="1224" y="1947"/>
                  <a:pt x="1215" y="1929"/>
                </a:cubicBezTo>
                <a:cubicBezTo>
                  <a:pt x="1213" y="1925"/>
                  <a:pt x="1211" y="1921"/>
                  <a:pt x="1209" y="1917"/>
                </a:cubicBezTo>
                <a:cubicBezTo>
                  <a:pt x="1329" y="1952"/>
                  <a:pt x="1449" y="1971"/>
                  <a:pt x="1557" y="1973"/>
                </a:cubicBezTo>
                <a:lnTo>
                  <a:pt x="1557" y="2049"/>
                </a:lnTo>
                <a:close/>
                <a:moveTo>
                  <a:pt x="1962" y="1929"/>
                </a:moveTo>
                <a:cubicBezTo>
                  <a:pt x="1952" y="1947"/>
                  <a:pt x="1942" y="1962"/>
                  <a:pt x="1930" y="1975"/>
                </a:cubicBezTo>
                <a:cubicBezTo>
                  <a:pt x="1911" y="1983"/>
                  <a:pt x="1892" y="1991"/>
                  <a:pt x="1873" y="1998"/>
                </a:cubicBezTo>
                <a:cubicBezTo>
                  <a:pt x="1849" y="2007"/>
                  <a:pt x="1824" y="2014"/>
                  <a:pt x="1799" y="2021"/>
                </a:cubicBezTo>
                <a:cubicBezTo>
                  <a:pt x="1763" y="2030"/>
                  <a:pt x="1726" y="2037"/>
                  <a:pt x="1689" y="2042"/>
                </a:cubicBezTo>
                <a:cubicBezTo>
                  <a:pt x="1664" y="2045"/>
                  <a:pt x="1645" y="2048"/>
                  <a:pt x="1620" y="2049"/>
                </a:cubicBezTo>
                <a:cubicBezTo>
                  <a:pt x="1620" y="1973"/>
                  <a:pt x="1620" y="1973"/>
                  <a:pt x="1620" y="1973"/>
                </a:cubicBezTo>
                <a:cubicBezTo>
                  <a:pt x="1728" y="1971"/>
                  <a:pt x="1848" y="1952"/>
                  <a:pt x="1968" y="1917"/>
                </a:cubicBezTo>
                <a:cubicBezTo>
                  <a:pt x="1966" y="1921"/>
                  <a:pt x="1964" y="1925"/>
                  <a:pt x="1962" y="1929"/>
                </a:cubicBezTo>
                <a:close/>
                <a:moveTo>
                  <a:pt x="2072" y="1897"/>
                </a:moveTo>
                <a:cubicBezTo>
                  <a:pt x="2060" y="1902"/>
                  <a:pt x="2048" y="1907"/>
                  <a:pt x="2036" y="1911"/>
                </a:cubicBezTo>
                <a:cubicBezTo>
                  <a:pt x="2038" y="1905"/>
                  <a:pt x="2040" y="1899"/>
                  <a:pt x="2043" y="1893"/>
                </a:cubicBezTo>
                <a:cubicBezTo>
                  <a:pt x="2070" y="1883"/>
                  <a:pt x="2097" y="1872"/>
                  <a:pt x="2123" y="1860"/>
                </a:cubicBezTo>
                <a:cubicBezTo>
                  <a:pt x="2107" y="1873"/>
                  <a:pt x="2090" y="1886"/>
                  <a:pt x="2072" y="1897"/>
                </a:cubicBezTo>
                <a:close/>
                <a:moveTo>
                  <a:pt x="699" y="879"/>
                </a:moveTo>
                <a:cubicBezTo>
                  <a:pt x="783" y="1007"/>
                  <a:pt x="903" y="1100"/>
                  <a:pt x="1046" y="1163"/>
                </a:cubicBezTo>
                <a:cubicBezTo>
                  <a:pt x="1070" y="1173"/>
                  <a:pt x="1095" y="1182"/>
                  <a:pt x="1121" y="1191"/>
                </a:cubicBezTo>
                <a:cubicBezTo>
                  <a:pt x="1121" y="1191"/>
                  <a:pt x="1121" y="1192"/>
                  <a:pt x="1121" y="1193"/>
                </a:cubicBezTo>
                <a:cubicBezTo>
                  <a:pt x="1140" y="1199"/>
                  <a:pt x="1159" y="1205"/>
                  <a:pt x="1178" y="1211"/>
                </a:cubicBezTo>
                <a:cubicBezTo>
                  <a:pt x="1178" y="1210"/>
                  <a:pt x="1178" y="1209"/>
                  <a:pt x="1178" y="1208"/>
                </a:cubicBezTo>
                <a:cubicBezTo>
                  <a:pt x="1237" y="1225"/>
                  <a:pt x="1296" y="1239"/>
                  <a:pt x="1355" y="1249"/>
                </a:cubicBezTo>
                <a:cubicBezTo>
                  <a:pt x="1429" y="1259"/>
                  <a:pt x="1506" y="1264"/>
                  <a:pt x="1585" y="1264"/>
                </a:cubicBezTo>
                <a:cubicBezTo>
                  <a:pt x="1663" y="1264"/>
                  <a:pt x="1739" y="1259"/>
                  <a:pt x="1812" y="1249"/>
                </a:cubicBezTo>
                <a:cubicBezTo>
                  <a:pt x="1872" y="1239"/>
                  <a:pt x="1932" y="1225"/>
                  <a:pt x="1992" y="1208"/>
                </a:cubicBezTo>
                <a:cubicBezTo>
                  <a:pt x="1992" y="1209"/>
                  <a:pt x="1992" y="1210"/>
                  <a:pt x="1992" y="1211"/>
                </a:cubicBezTo>
                <a:cubicBezTo>
                  <a:pt x="2012" y="1205"/>
                  <a:pt x="2031" y="1199"/>
                  <a:pt x="2049" y="1193"/>
                </a:cubicBezTo>
                <a:cubicBezTo>
                  <a:pt x="2049" y="1192"/>
                  <a:pt x="2049" y="1191"/>
                  <a:pt x="2049" y="1190"/>
                </a:cubicBezTo>
                <a:cubicBezTo>
                  <a:pt x="2077" y="1181"/>
                  <a:pt x="2104" y="1171"/>
                  <a:pt x="2130" y="1161"/>
                </a:cubicBezTo>
                <a:cubicBezTo>
                  <a:pt x="2267" y="1099"/>
                  <a:pt x="2382" y="1010"/>
                  <a:pt x="2465" y="888"/>
                </a:cubicBezTo>
                <a:cubicBezTo>
                  <a:pt x="2466" y="887"/>
                  <a:pt x="2467" y="885"/>
                  <a:pt x="2467" y="883"/>
                </a:cubicBezTo>
                <a:cubicBezTo>
                  <a:pt x="2472" y="873"/>
                  <a:pt x="2476" y="863"/>
                  <a:pt x="2480" y="852"/>
                </a:cubicBezTo>
                <a:cubicBezTo>
                  <a:pt x="2497" y="803"/>
                  <a:pt x="2497" y="803"/>
                  <a:pt x="2497" y="803"/>
                </a:cubicBezTo>
                <a:cubicBezTo>
                  <a:pt x="2495" y="788"/>
                  <a:pt x="2491" y="763"/>
                  <a:pt x="2490" y="756"/>
                </a:cubicBezTo>
                <a:cubicBezTo>
                  <a:pt x="2458" y="596"/>
                  <a:pt x="2386" y="451"/>
                  <a:pt x="2285" y="332"/>
                </a:cubicBezTo>
                <a:cubicBezTo>
                  <a:pt x="2272" y="316"/>
                  <a:pt x="2259" y="301"/>
                  <a:pt x="2245" y="287"/>
                </a:cubicBezTo>
                <a:cubicBezTo>
                  <a:pt x="2241" y="283"/>
                  <a:pt x="2195" y="240"/>
                  <a:pt x="2195" y="240"/>
                </a:cubicBezTo>
                <a:cubicBezTo>
                  <a:pt x="2033" y="94"/>
                  <a:pt x="1819" y="4"/>
                  <a:pt x="1585" y="0"/>
                </a:cubicBezTo>
                <a:cubicBezTo>
                  <a:pt x="1585" y="0"/>
                  <a:pt x="1585" y="0"/>
                  <a:pt x="1585" y="0"/>
                </a:cubicBezTo>
                <a:cubicBezTo>
                  <a:pt x="1351" y="4"/>
                  <a:pt x="1137" y="94"/>
                  <a:pt x="975" y="240"/>
                </a:cubicBezTo>
                <a:cubicBezTo>
                  <a:pt x="975" y="240"/>
                  <a:pt x="925" y="283"/>
                  <a:pt x="886" y="332"/>
                </a:cubicBezTo>
                <a:cubicBezTo>
                  <a:pt x="784" y="451"/>
                  <a:pt x="712" y="596"/>
                  <a:pt x="681" y="756"/>
                </a:cubicBezTo>
                <a:cubicBezTo>
                  <a:pt x="680" y="759"/>
                  <a:pt x="677" y="779"/>
                  <a:pt x="673" y="806"/>
                </a:cubicBezTo>
                <a:cubicBezTo>
                  <a:pt x="689" y="853"/>
                  <a:pt x="689" y="853"/>
                  <a:pt x="689" y="853"/>
                </a:cubicBezTo>
                <a:cubicBezTo>
                  <a:pt x="692" y="861"/>
                  <a:pt x="695" y="870"/>
                  <a:pt x="699" y="879"/>
                </a:cubicBezTo>
                <a:close/>
                <a:moveTo>
                  <a:pt x="1616" y="1197"/>
                </a:moveTo>
                <a:cubicBezTo>
                  <a:pt x="1616" y="736"/>
                  <a:pt x="1616" y="736"/>
                  <a:pt x="1616" y="736"/>
                </a:cubicBezTo>
                <a:cubicBezTo>
                  <a:pt x="1687" y="734"/>
                  <a:pt x="1767" y="723"/>
                  <a:pt x="1852" y="700"/>
                </a:cubicBezTo>
                <a:cubicBezTo>
                  <a:pt x="1871" y="747"/>
                  <a:pt x="1889" y="794"/>
                  <a:pt x="1905" y="843"/>
                </a:cubicBezTo>
                <a:cubicBezTo>
                  <a:pt x="1918" y="879"/>
                  <a:pt x="1928" y="916"/>
                  <a:pt x="1938" y="951"/>
                </a:cubicBezTo>
                <a:cubicBezTo>
                  <a:pt x="1949" y="989"/>
                  <a:pt x="1958" y="1026"/>
                  <a:pt x="1966" y="1063"/>
                </a:cubicBezTo>
                <a:cubicBezTo>
                  <a:pt x="1972" y="1088"/>
                  <a:pt x="1977" y="1113"/>
                  <a:pt x="1981" y="1138"/>
                </a:cubicBezTo>
                <a:cubicBezTo>
                  <a:pt x="1857" y="1175"/>
                  <a:pt x="1731" y="1195"/>
                  <a:pt x="1616" y="1197"/>
                </a:cubicBezTo>
                <a:close/>
                <a:moveTo>
                  <a:pt x="2006" y="508"/>
                </a:moveTo>
                <a:cubicBezTo>
                  <a:pt x="2009" y="511"/>
                  <a:pt x="2012" y="514"/>
                  <a:pt x="2015" y="517"/>
                </a:cubicBezTo>
                <a:cubicBezTo>
                  <a:pt x="2026" y="527"/>
                  <a:pt x="2035" y="538"/>
                  <a:pt x="2045" y="548"/>
                </a:cubicBezTo>
                <a:cubicBezTo>
                  <a:pt x="1998" y="577"/>
                  <a:pt x="1942" y="601"/>
                  <a:pt x="1882" y="620"/>
                </a:cubicBezTo>
                <a:cubicBezTo>
                  <a:pt x="1823" y="488"/>
                  <a:pt x="1755" y="373"/>
                  <a:pt x="1684" y="281"/>
                </a:cubicBezTo>
                <a:cubicBezTo>
                  <a:pt x="1798" y="335"/>
                  <a:pt x="1909" y="413"/>
                  <a:pt x="2006" y="508"/>
                </a:cubicBezTo>
                <a:close/>
                <a:moveTo>
                  <a:pt x="1755" y="251"/>
                </a:moveTo>
                <a:cubicBezTo>
                  <a:pt x="1838" y="265"/>
                  <a:pt x="1917" y="288"/>
                  <a:pt x="1990" y="320"/>
                </a:cubicBezTo>
                <a:cubicBezTo>
                  <a:pt x="2013" y="329"/>
                  <a:pt x="2034" y="339"/>
                  <a:pt x="2055" y="350"/>
                </a:cubicBezTo>
                <a:cubicBezTo>
                  <a:pt x="2095" y="371"/>
                  <a:pt x="2133" y="394"/>
                  <a:pt x="2168" y="420"/>
                </a:cubicBezTo>
                <a:cubicBezTo>
                  <a:pt x="2165" y="427"/>
                  <a:pt x="2162" y="435"/>
                  <a:pt x="2158" y="443"/>
                </a:cubicBezTo>
                <a:cubicBezTo>
                  <a:pt x="2143" y="468"/>
                  <a:pt x="2121" y="492"/>
                  <a:pt x="2094" y="515"/>
                </a:cubicBezTo>
                <a:cubicBezTo>
                  <a:pt x="2085" y="504"/>
                  <a:pt x="2075" y="494"/>
                  <a:pt x="2065" y="484"/>
                </a:cubicBezTo>
                <a:cubicBezTo>
                  <a:pt x="2062" y="481"/>
                  <a:pt x="2060" y="479"/>
                  <a:pt x="2057" y="476"/>
                </a:cubicBezTo>
                <a:cubicBezTo>
                  <a:pt x="2040" y="459"/>
                  <a:pt x="2022" y="442"/>
                  <a:pt x="2004" y="426"/>
                </a:cubicBezTo>
                <a:cubicBezTo>
                  <a:pt x="1926" y="356"/>
                  <a:pt x="1842" y="298"/>
                  <a:pt x="1755" y="251"/>
                </a:cubicBezTo>
                <a:close/>
                <a:moveTo>
                  <a:pt x="1824" y="636"/>
                </a:moveTo>
                <a:cubicBezTo>
                  <a:pt x="1753" y="654"/>
                  <a:pt x="1684" y="664"/>
                  <a:pt x="1616" y="666"/>
                </a:cubicBezTo>
                <a:cubicBezTo>
                  <a:pt x="1616" y="284"/>
                  <a:pt x="1616" y="284"/>
                  <a:pt x="1616" y="284"/>
                </a:cubicBezTo>
                <a:cubicBezTo>
                  <a:pt x="1623" y="292"/>
                  <a:pt x="1625" y="302"/>
                  <a:pt x="1632" y="311"/>
                </a:cubicBezTo>
                <a:cubicBezTo>
                  <a:pt x="1702" y="400"/>
                  <a:pt x="1768" y="512"/>
                  <a:pt x="1824" y="636"/>
                </a:cubicBezTo>
                <a:close/>
                <a:moveTo>
                  <a:pt x="2038" y="1120"/>
                </a:moveTo>
                <a:cubicBezTo>
                  <a:pt x="2028" y="1066"/>
                  <a:pt x="2015" y="1009"/>
                  <a:pt x="1999" y="951"/>
                </a:cubicBezTo>
                <a:cubicBezTo>
                  <a:pt x="1989" y="915"/>
                  <a:pt x="1978" y="878"/>
                  <a:pt x="1966" y="840"/>
                </a:cubicBezTo>
                <a:cubicBezTo>
                  <a:pt x="1964" y="835"/>
                  <a:pt x="1963" y="830"/>
                  <a:pt x="1961" y="825"/>
                </a:cubicBezTo>
                <a:cubicBezTo>
                  <a:pt x="1945" y="776"/>
                  <a:pt x="1927" y="729"/>
                  <a:pt x="1909" y="684"/>
                </a:cubicBezTo>
                <a:cubicBezTo>
                  <a:pt x="1975" y="663"/>
                  <a:pt x="2038" y="636"/>
                  <a:pt x="2092" y="602"/>
                </a:cubicBezTo>
                <a:cubicBezTo>
                  <a:pt x="2183" y="710"/>
                  <a:pt x="2251" y="829"/>
                  <a:pt x="2293" y="951"/>
                </a:cubicBezTo>
                <a:cubicBezTo>
                  <a:pt x="2297" y="962"/>
                  <a:pt x="2300" y="974"/>
                  <a:pt x="2304" y="985"/>
                </a:cubicBezTo>
                <a:cubicBezTo>
                  <a:pt x="2234" y="1040"/>
                  <a:pt x="2140" y="1086"/>
                  <a:pt x="2038" y="1120"/>
                </a:cubicBezTo>
                <a:close/>
                <a:moveTo>
                  <a:pt x="2246" y="379"/>
                </a:moveTo>
                <a:cubicBezTo>
                  <a:pt x="2261" y="398"/>
                  <a:pt x="2273" y="418"/>
                  <a:pt x="2284" y="440"/>
                </a:cubicBezTo>
                <a:cubicBezTo>
                  <a:pt x="2271" y="428"/>
                  <a:pt x="2258" y="416"/>
                  <a:pt x="2244" y="405"/>
                </a:cubicBezTo>
                <a:cubicBezTo>
                  <a:pt x="2245" y="397"/>
                  <a:pt x="2246" y="388"/>
                  <a:pt x="2246" y="379"/>
                </a:cubicBezTo>
                <a:close/>
                <a:moveTo>
                  <a:pt x="2219" y="477"/>
                </a:moveTo>
                <a:cubicBezTo>
                  <a:pt x="2221" y="473"/>
                  <a:pt x="2223" y="469"/>
                  <a:pt x="2225" y="465"/>
                </a:cubicBezTo>
                <a:cubicBezTo>
                  <a:pt x="2264" y="499"/>
                  <a:pt x="2299" y="537"/>
                  <a:pt x="2330" y="576"/>
                </a:cubicBezTo>
                <a:cubicBezTo>
                  <a:pt x="2357" y="611"/>
                  <a:pt x="2380" y="648"/>
                  <a:pt x="2399" y="686"/>
                </a:cubicBezTo>
                <a:cubicBezTo>
                  <a:pt x="2412" y="713"/>
                  <a:pt x="2423" y="741"/>
                  <a:pt x="2433" y="769"/>
                </a:cubicBezTo>
                <a:cubicBezTo>
                  <a:pt x="2433" y="773"/>
                  <a:pt x="2453" y="840"/>
                  <a:pt x="2352" y="942"/>
                </a:cubicBezTo>
                <a:cubicBezTo>
                  <a:pt x="2342" y="914"/>
                  <a:pt x="2332" y="886"/>
                  <a:pt x="2320" y="858"/>
                </a:cubicBezTo>
                <a:cubicBezTo>
                  <a:pt x="2276" y="757"/>
                  <a:pt x="2216" y="658"/>
                  <a:pt x="2140" y="567"/>
                </a:cubicBezTo>
                <a:cubicBezTo>
                  <a:pt x="2173" y="541"/>
                  <a:pt x="2201" y="510"/>
                  <a:pt x="2219" y="477"/>
                </a:cubicBezTo>
                <a:close/>
                <a:moveTo>
                  <a:pt x="2022" y="219"/>
                </a:moveTo>
                <a:cubicBezTo>
                  <a:pt x="2069" y="234"/>
                  <a:pt x="2111" y="255"/>
                  <a:pt x="2149" y="283"/>
                </a:cubicBezTo>
                <a:cubicBezTo>
                  <a:pt x="2163" y="307"/>
                  <a:pt x="2172" y="331"/>
                  <a:pt x="2175" y="353"/>
                </a:cubicBezTo>
                <a:cubicBezTo>
                  <a:pt x="2133" y="325"/>
                  <a:pt x="2088" y="300"/>
                  <a:pt x="2041" y="278"/>
                </a:cubicBezTo>
                <a:cubicBezTo>
                  <a:pt x="2018" y="267"/>
                  <a:pt x="1995" y="258"/>
                  <a:pt x="1971" y="249"/>
                </a:cubicBezTo>
                <a:cubicBezTo>
                  <a:pt x="1909" y="225"/>
                  <a:pt x="1844" y="208"/>
                  <a:pt x="1776" y="196"/>
                </a:cubicBezTo>
                <a:cubicBezTo>
                  <a:pt x="1799" y="193"/>
                  <a:pt x="1822" y="192"/>
                  <a:pt x="1844" y="192"/>
                </a:cubicBezTo>
                <a:cubicBezTo>
                  <a:pt x="1881" y="192"/>
                  <a:pt x="1916" y="195"/>
                  <a:pt x="1950" y="201"/>
                </a:cubicBezTo>
                <a:cubicBezTo>
                  <a:pt x="1975" y="206"/>
                  <a:pt x="1999" y="211"/>
                  <a:pt x="2022" y="219"/>
                </a:cubicBezTo>
                <a:close/>
                <a:moveTo>
                  <a:pt x="1859" y="116"/>
                </a:moveTo>
                <a:cubicBezTo>
                  <a:pt x="1872" y="120"/>
                  <a:pt x="1885" y="127"/>
                  <a:pt x="1897" y="136"/>
                </a:cubicBezTo>
                <a:cubicBezTo>
                  <a:pt x="1879" y="134"/>
                  <a:pt x="1862" y="134"/>
                  <a:pt x="1844" y="134"/>
                </a:cubicBezTo>
                <a:cubicBezTo>
                  <a:pt x="1798" y="134"/>
                  <a:pt x="1750" y="138"/>
                  <a:pt x="1703" y="147"/>
                </a:cubicBezTo>
                <a:cubicBezTo>
                  <a:pt x="1744" y="122"/>
                  <a:pt x="1782" y="109"/>
                  <a:pt x="1818" y="109"/>
                </a:cubicBezTo>
                <a:cubicBezTo>
                  <a:pt x="1832" y="109"/>
                  <a:pt x="1846" y="111"/>
                  <a:pt x="1859" y="116"/>
                </a:cubicBezTo>
                <a:close/>
                <a:moveTo>
                  <a:pt x="1610" y="59"/>
                </a:moveTo>
                <a:cubicBezTo>
                  <a:pt x="1648" y="61"/>
                  <a:pt x="1686" y="65"/>
                  <a:pt x="1722" y="71"/>
                </a:cubicBezTo>
                <a:cubicBezTo>
                  <a:pt x="1685" y="87"/>
                  <a:pt x="1648" y="111"/>
                  <a:pt x="1610" y="142"/>
                </a:cubicBezTo>
                <a:lnTo>
                  <a:pt x="1610" y="59"/>
                </a:lnTo>
                <a:close/>
                <a:moveTo>
                  <a:pt x="1171" y="951"/>
                </a:moveTo>
                <a:cubicBezTo>
                  <a:pt x="1155" y="1009"/>
                  <a:pt x="1143" y="1066"/>
                  <a:pt x="1133" y="1121"/>
                </a:cubicBezTo>
                <a:cubicBezTo>
                  <a:pt x="1030" y="1086"/>
                  <a:pt x="937" y="1040"/>
                  <a:pt x="867" y="985"/>
                </a:cubicBezTo>
                <a:cubicBezTo>
                  <a:pt x="870" y="974"/>
                  <a:pt x="873" y="963"/>
                  <a:pt x="877" y="951"/>
                </a:cubicBezTo>
                <a:cubicBezTo>
                  <a:pt x="919" y="830"/>
                  <a:pt x="987" y="710"/>
                  <a:pt x="1078" y="602"/>
                </a:cubicBezTo>
                <a:cubicBezTo>
                  <a:pt x="1132" y="636"/>
                  <a:pt x="1195" y="663"/>
                  <a:pt x="1261" y="684"/>
                </a:cubicBezTo>
                <a:cubicBezTo>
                  <a:pt x="1243" y="729"/>
                  <a:pt x="1225" y="776"/>
                  <a:pt x="1209" y="825"/>
                </a:cubicBezTo>
                <a:cubicBezTo>
                  <a:pt x="1208" y="830"/>
                  <a:pt x="1206" y="835"/>
                  <a:pt x="1204" y="840"/>
                </a:cubicBezTo>
                <a:cubicBezTo>
                  <a:pt x="1192" y="878"/>
                  <a:pt x="1181" y="915"/>
                  <a:pt x="1171" y="951"/>
                </a:cubicBezTo>
                <a:close/>
                <a:moveTo>
                  <a:pt x="1166" y="426"/>
                </a:moveTo>
                <a:cubicBezTo>
                  <a:pt x="1148" y="442"/>
                  <a:pt x="1131" y="459"/>
                  <a:pt x="1114" y="476"/>
                </a:cubicBezTo>
                <a:cubicBezTo>
                  <a:pt x="1111" y="479"/>
                  <a:pt x="1108" y="481"/>
                  <a:pt x="1105" y="484"/>
                </a:cubicBezTo>
                <a:cubicBezTo>
                  <a:pt x="1095" y="494"/>
                  <a:pt x="1086" y="505"/>
                  <a:pt x="1076" y="515"/>
                </a:cubicBezTo>
                <a:cubicBezTo>
                  <a:pt x="1049" y="493"/>
                  <a:pt x="1026" y="468"/>
                  <a:pt x="1012" y="443"/>
                </a:cubicBezTo>
                <a:cubicBezTo>
                  <a:pt x="1008" y="435"/>
                  <a:pt x="1005" y="428"/>
                  <a:pt x="1002" y="420"/>
                </a:cubicBezTo>
                <a:cubicBezTo>
                  <a:pt x="1037" y="394"/>
                  <a:pt x="1075" y="371"/>
                  <a:pt x="1115" y="350"/>
                </a:cubicBezTo>
                <a:cubicBezTo>
                  <a:pt x="1136" y="339"/>
                  <a:pt x="1158" y="329"/>
                  <a:pt x="1180" y="320"/>
                </a:cubicBezTo>
                <a:cubicBezTo>
                  <a:pt x="1253" y="288"/>
                  <a:pt x="1332" y="265"/>
                  <a:pt x="1416" y="251"/>
                </a:cubicBezTo>
                <a:cubicBezTo>
                  <a:pt x="1328" y="298"/>
                  <a:pt x="1244" y="356"/>
                  <a:pt x="1166" y="426"/>
                </a:cubicBezTo>
                <a:close/>
                <a:moveTo>
                  <a:pt x="1487" y="281"/>
                </a:moveTo>
                <a:cubicBezTo>
                  <a:pt x="1415" y="373"/>
                  <a:pt x="1348" y="488"/>
                  <a:pt x="1289" y="620"/>
                </a:cubicBezTo>
                <a:cubicBezTo>
                  <a:pt x="1228" y="601"/>
                  <a:pt x="1172" y="577"/>
                  <a:pt x="1125" y="549"/>
                </a:cubicBezTo>
                <a:cubicBezTo>
                  <a:pt x="1135" y="538"/>
                  <a:pt x="1145" y="527"/>
                  <a:pt x="1155" y="517"/>
                </a:cubicBezTo>
                <a:cubicBezTo>
                  <a:pt x="1158" y="514"/>
                  <a:pt x="1161" y="511"/>
                  <a:pt x="1164" y="508"/>
                </a:cubicBezTo>
                <a:cubicBezTo>
                  <a:pt x="1262" y="413"/>
                  <a:pt x="1372" y="335"/>
                  <a:pt x="1487" y="281"/>
                </a:cubicBezTo>
                <a:close/>
                <a:moveTo>
                  <a:pt x="1555" y="1197"/>
                </a:moveTo>
                <a:cubicBezTo>
                  <a:pt x="1439" y="1195"/>
                  <a:pt x="1313" y="1175"/>
                  <a:pt x="1189" y="1139"/>
                </a:cubicBezTo>
                <a:cubicBezTo>
                  <a:pt x="1194" y="1114"/>
                  <a:pt x="1199" y="1088"/>
                  <a:pt x="1204" y="1063"/>
                </a:cubicBezTo>
                <a:cubicBezTo>
                  <a:pt x="1212" y="1026"/>
                  <a:pt x="1222" y="989"/>
                  <a:pt x="1232" y="951"/>
                </a:cubicBezTo>
                <a:cubicBezTo>
                  <a:pt x="1242" y="916"/>
                  <a:pt x="1253" y="879"/>
                  <a:pt x="1265" y="843"/>
                </a:cubicBezTo>
                <a:cubicBezTo>
                  <a:pt x="1281" y="794"/>
                  <a:pt x="1299" y="747"/>
                  <a:pt x="1318" y="700"/>
                </a:cubicBezTo>
                <a:cubicBezTo>
                  <a:pt x="1404" y="723"/>
                  <a:pt x="1484" y="734"/>
                  <a:pt x="1555" y="736"/>
                </a:cubicBezTo>
                <a:lnTo>
                  <a:pt x="1555" y="1197"/>
                </a:lnTo>
                <a:close/>
                <a:moveTo>
                  <a:pt x="1555" y="666"/>
                </a:moveTo>
                <a:cubicBezTo>
                  <a:pt x="1486" y="664"/>
                  <a:pt x="1418" y="654"/>
                  <a:pt x="1346" y="636"/>
                </a:cubicBezTo>
                <a:cubicBezTo>
                  <a:pt x="1402" y="512"/>
                  <a:pt x="1468" y="400"/>
                  <a:pt x="1538" y="311"/>
                </a:cubicBezTo>
                <a:cubicBezTo>
                  <a:pt x="1545" y="302"/>
                  <a:pt x="1547" y="292"/>
                  <a:pt x="1555" y="284"/>
                </a:cubicBezTo>
                <a:lnTo>
                  <a:pt x="1555" y="666"/>
                </a:lnTo>
                <a:close/>
                <a:moveTo>
                  <a:pt x="1560" y="59"/>
                </a:moveTo>
                <a:cubicBezTo>
                  <a:pt x="1560" y="142"/>
                  <a:pt x="1560" y="142"/>
                  <a:pt x="1560" y="142"/>
                </a:cubicBezTo>
                <a:cubicBezTo>
                  <a:pt x="1523" y="111"/>
                  <a:pt x="1485" y="87"/>
                  <a:pt x="1448" y="71"/>
                </a:cubicBezTo>
                <a:cubicBezTo>
                  <a:pt x="1485" y="65"/>
                  <a:pt x="1522" y="61"/>
                  <a:pt x="1560" y="59"/>
                </a:cubicBezTo>
                <a:close/>
                <a:moveTo>
                  <a:pt x="1311" y="116"/>
                </a:moveTo>
                <a:cubicBezTo>
                  <a:pt x="1324" y="111"/>
                  <a:pt x="1338" y="109"/>
                  <a:pt x="1353" y="109"/>
                </a:cubicBezTo>
                <a:cubicBezTo>
                  <a:pt x="1388" y="109"/>
                  <a:pt x="1427" y="122"/>
                  <a:pt x="1468" y="147"/>
                </a:cubicBezTo>
                <a:cubicBezTo>
                  <a:pt x="1420" y="138"/>
                  <a:pt x="1373" y="134"/>
                  <a:pt x="1326" y="134"/>
                </a:cubicBezTo>
                <a:cubicBezTo>
                  <a:pt x="1309" y="134"/>
                  <a:pt x="1291" y="134"/>
                  <a:pt x="1274" y="136"/>
                </a:cubicBezTo>
                <a:cubicBezTo>
                  <a:pt x="1286" y="127"/>
                  <a:pt x="1298" y="120"/>
                  <a:pt x="1311" y="116"/>
                </a:cubicBezTo>
                <a:close/>
                <a:moveTo>
                  <a:pt x="1020" y="283"/>
                </a:moveTo>
                <a:cubicBezTo>
                  <a:pt x="1059" y="256"/>
                  <a:pt x="1101" y="234"/>
                  <a:pt x="1148" y="219"/>
                </a:cubicBezTo>
                <a:cubicBezTo>
                  <a:pt x="1172" y="211"/>
                  <a:pt x="1196" y="206"/>
                  <a:pt x="1221" y="201"/>
                </a:cubicBezTo>
                <a:cubicBezTo>
                  <a:pt x="1254" y="195"/>
                  <a:pt x="1290" y="192"/>
                  <a:pt x="1326" y="192"/>
                </a:cubicBezTo>
                <a:cubicBezTo>
                  <a:pt x="1349" y="192"/>
                  <a:pt x="1371" y="193"/>
                  <a:pt x="1394" y="196"/>
                </a:cubicBezTo>
                <a:cubicBezTo>
                  <a:pt x="1326" y="208"/>
                  <a:pt x="1261" y="225"/>
                  <a:pt x="1200" y="249"/>
                </a:cubicBezTo>
                <a:cubicBezTo>
                  <a:pt x="1176" y="258"/>
                  <a:pt x="1152" y="267"/>
                  <a:pt x="1130" y="278"/>
                </a:cubicBezTo>
                <a:cubicBezTo>
                  <a:pt x="1082" y="300"/>
                  <a:pt x="1037" y="326"/>
                  <a:pt x="995" y="354"/>
                </a:cubicBezTo>
                <a:cubicBezTo>
                  <a:pt x="998" y="331"/>
                  <a:pt x="1006" y="308"/>
                  <a:pt x="1020" y="283"/>
                </a:cubicBezTo>
                <a:close/>
                <a:moveTo>
                  <a:pt x="923" y="379"/>
                </a:moveTo>
                <a:cubicBezTo>
                  <a:pt x="924" y="388"/>
                  <a:pt x="925" y="397"/>
                  <a:pt x="926" y="406"/>
                </a:cubicBezTo>
                <a:cubicBezTo>
                  <a:pt x="912" y="417"/>
                  <a:pt x="899" y="428"/>
                  <a:pt x="886" y="440"/>
                </a:cubicBezTo>
                <a:cubicBezTo>
                  <a:pt x="897" y="419"/>
                  <a:pt x="909" y="399"/>
                  <a:pt x="923" y="379"/>
                </a:cubicBezTo>
                <a:close/>
                <a:moveTo>
                  <a:pt x="742" y="759"/>
                </a:moveTo>
                <a:cubicBezTo>
                  <a:pt x="751" y="731"/>
                  <a:pt x="758" y="713"/>
                  <a:pt x="772" y="686"/>
                </a:cubicBezTo>
                <a:cubicBezTo>
                  <a:pt x="791" y="648"/>
                  <a:pt x="814" y="611"/>
                  <a:pt x="840" y="576"/>
                </a:cubicBezTo>
                <a:cubicBezTo>
                  <a:pt x="871" y="537"/>
                  <a:pt x="906" y="500"/>
                  <a:pt x="945" y="466"/>
                </a:cubicBezTo>
                <a:cubicBezTo>
                  <a:pt x="947" y="469"/>
                  <a:pt x="949" y="473"/>
                  <a:pt x="951" y="477"/>
                </a:cubicBezTo>
                <a:cubicBezTo>
                  <a:pt x="969" y="510"/>
                  <a:pt x="997" y="541"/>
                  <a:pt x="1030" y="568"/>
                </a:cubicBezTo>
                <a:cubicBezTo>
                  <a:pt x="955" y="659"/>
                  <a:pt x="894" y="757"/>
                  <a:pt x="851" y="858"/>
                </a:cubicBezTo>
                <a:cubicBezTo>
                  <a:pt x="839" y="886"/>
                  <a:pt x="828" y="914"/>
                  <a:pt x="819" y="942"/>
                </a:cubicBezTo>
                <a:cubicBezTo>
                  <a:pt x="772" y="894"/>
                  <a:pt x="743" y="839"/>
                  <a:pt x="741" y="780"/>
                </a:cubicBezTo>
                <a:cubicBezTo>
                  <a:pt x="741" y="780"/>
                  <a:pt x="741" y="763"/>
                  <a:pt x="742" y="759"/>
                </a:cubicBezTo>
                <a:close/>
                <a:moveTo>
                  <a:pt x="447" y="993"/>
                </a:moveTo>
                <a:cubicBezTo>
                  <a:pt x="411" y="993"/>
                  <a:pt x="409" y="1049"/>
                  <a:pt x="409" y="1074"/>
                </a:cubicBezTo>
                <a:cubicBezTo>
                  <a:pt x="409" y="1153"/>
                  <a:pt x="437" y="1157"/>
                  <a:pt x="447" y="1157"/>
                </a:cubicBezTo>
                <a:cubicBezTo>
                  <a:pt x="458" y="1157"/>
                  <a:pt x="486" y="1153"/>
                  <a:pt x="486" y="1074"/>
                </a:cubicBezTo>
                <a:cubicBezTo>
                  <a:pt x="486" y="1049"/>
                  <a:pt x="483" y="993"/>
                  <a:pt x="447" y="993"/>
                </a:cubicBezTo>
                <a:close/>
                <a:moveTo>
                  <a:pt x="2737" y="993"/>
                </a:moveTo>
                <a:cubicBezTo>
                  <a:pt x="2701" y="993"/>
                  <a:pt x="2698" y="1049"/>
                  <a:pt x="2698" y="1074"/>
                </a:cubicBezTo>
                <a:cubicBezTo>
                  <a:pt x="2698" y="1153"/>
                  <a:pt x="2726" y="1157"/>
                  <a:pt x="2737" y="1157"/>
                </a:cubicBezTo>
                <a:cubicBezTo>
                  <a:pt x="2747" y="1157"/>
                  <a:pt x="2776" y="1153"/>
                  <a:pt x="2776" y="1074"/>
                </a:cubicBezTo>
                <a:cubicBezTo>
                  <a:pt x="2776" y="1049"/>
                  <a:pt x="2773" y="993"/>
                  <a:pt x="2737" y="993"/>
                </a:cubicBezTo>
                <a:close/>
                <a:moveTo>
                  <a:pt x="1746" y="1536"/>
                </a:moveTo>
                <a:cubicBezTo>
                  <a:pt x="1733" y="1465"/>
                  <a:pt x="1677" y="1481"/>
                  <a:pt x="1660" y="1501"/>
                </a:cubicBezTo>
                <a:cubicBezTo>
                  <a:pt x="1653" y="1509"/>
                  <a:pt x="1648" y="1524"/>
                  <a:pt x="1644" y="1541"/>
                </a:cubicBezTo>
                <a:cubicBezTo>
                  <a:pt x="1634" y="1593"/>
                  <a:pt x="1642" y="1668"/>
                  <a:pt x="1695" y="1667"/>
                </a:cubicBezTo>
                <a:cubicBezTo>
                  <a:pt x="1741" y="1664"/>
                  <a:pt x="1753" y="1606"/>
                  <a:pt x="1748" y="1552"/>
                </a:cubicBezTo>
                <a:cubicBezTo>
                  <a:pt x="1748" y="1546"/>
                  <a:pt x="1747" y="1541"/>
                  <a:pt x="1746" y="1536"/>
                </a:cubicBezTo>
                <a:close/>
                <a:moveTo>
                  <a:pt x="3451" y="1075"/>
                </a:moveTo>
                <a:cubicBezTo>
                  <a:pt x="3118" y="753"/>
                  <a:pt x="3118" y="753"/>
                  <a:pt x="3118" y="753"/>
                </a:cubicBezTo>
                <a:cubicBezTo>
                  <a:pt x="3118" y="886"/>
                  <a:pt x="3118" y="886"/>
                  <a:pt x="3118" y="886"/>
                </a:cubicBezTo>
                <a:cubicBezTo>
                  <a:pt x="2577" y="886"/>
                  <a:pt x="2577" y="886"/>
                  <a:pt x="2577" y="886"/>
                </a:cubicBezTo>
                <a:cubicBezTo>
                  <a:pt x="2572" y="900"/>
                  <a:pt x="2567" y="913"/>
                  <a:pt x="2560" y="927"/>
                </a:cubicBezTo>
                <a:cubicBezTo>
                  <a:pt x="2483" y="1094"/>
                  <a:pt x="2292" y="1240"/>
                  <a:pt x="2015" y="1319"/>
                </a:cubicBezTo>
                <a:cubicBezTo>
                  <a:pt x="1876" y="1360"/>
                  <a:pt x="1728" y="1379"/>
                  <a:pt x="1584" y="1379"/>
                </a:cubicBezTo>
                <a:cubicBezTo>
                  <a:pt x="1203" y="1379"/>
                  <a:pt x="839" y="1247"/>
                  <a:pt x="667" y="1023"/>
                </a:cubicBezTo>
                <a:cubicBezTo>
                  <a:pt x="650" y="1001"/>
                  <a:pt x="635" y="979"/>
                  <a:pt x="623" y="957"/>
                </a:cubicBezTo>
                <a:cubicBezTo>
                  <a:pt x="610" y="933"/>
                  <a:pt x="600" y="910"/>
                  <a:pt x="592" y="886"/>
                </a:cubicBezTo>
                <a:cubicBezTo>
                  <a:pt x="0" y="886"/>
                  <a:pt x="0" y="886"/>
                  <a:pt x="0" y="886"/>
                </a:cubicBezTo>
                <a:cubicBezTo>
                  <a:pt x="0" y="1265"/>
                  <a:pt x="0" y="1265"/>
                  <a:pt x="0" y="1265"/>
                </a:cubicBezTo>
                <a:cubicBezTo>
                  <a:pt x="581" y="1265"/>
                  <a:pt x="581" y="1265"/>
                  <a:pt x="581" y="1265"/>
                </a:cubicBezTo>
                <a:cubicBezTo>
                  <a:pt x="585" y="1281"/>
                  <a:pt x="590" y="1298"/>
                  <a:pt x="596" y="1315"/>
                </a:cubicBezTo>
                <a:cubicBezTo>
                  <a:pt x="612" y="1358"/>
                  <a:pt x="635" y="1401"/>
                  <a:pt x="668" y="1443"/>
                </a:cubicBezTo>
                <a:cubicBezTo>
                  <a:pt x="679" y="1459"/>
                  <a:pt x="692" y="1474"/>
                  <a:pt x="706" y="1488"/>
                </a:cubicBezTo>
                <a:cubicBezTo>
                  <a:pt x="744" y="1530"/>
                  <a:pt x="790" y="1568"/>
                  <a:pt x="841" y="1601"/>
                </a:cubicBezTo>
                <a:cubicBezTo>
                  <a:pt x="917" y="1651"/>
                  <a:pt x="1005" y="1693"/>
                  <a:pt x="1101" y="1724"/>
                </a:cubicBezTo>
                <a:cubicBezTo>
                  <a:pt x="1121" y="1731"/>
                  <a:pt x="1142" y="1737"/>
                  <a:pt x="1163" y="1743"/>
                </a:cubicBezTo>
                <a:cubicBezTo>
                  <a:pt x="1286" y="1778"/>
                  <a:pt x="1420" y="1797"/>
                  <a:pt x="1557" y="1799"/>
                </a:cubicBezTo>
                <a:cubicBezTo>
                  <a:pt x="1566" y="1799"/>
                  <a:pt x="1575" y="1800"/>
                  <a:pt x="1585" y="1800"/>
                </a:cubicBezTo>
                <a:cubicBezTo>
                  <a:pt x="1596" y="1800"/>
                  <a:pt x="1608" y="1799"/>
                  <a:pt x="1620" y="1799"/>
                </a:cubicBezTo>
                <a:cubicBezTo>
                  <a:pt x="1752" y="1796"/>
                  <a:pt x="1886" y="1777"/>
                  <a:pt x="2014" y="1741"/>
                </a:cubicBezTo>
                <a:cubicBezTo>
                  <a:pt x="2015" y="1741"/>
                  <a:pt x="2016" y="1740"/>
                  <a:pt x="2016" y="1740"/>
                </a:cubicBezTo>
                <a:cubicBezTo>
                  <a:pt x="2037" y="1734"/>
                  <a:pt x="2057" y="1728"/>
                  <a:pt x="2076" y="1721"/>
                </a:cubicBezTo>
                <a:cubicBezTo>
                  <a:pt x="2177" y="1687"/>
                  <a:pt x="2265" y="1644"/>
                  <a:pt x="2338" y="1594"/>
                </a:cubicBezTo>
                <a:cubicBezTo>
                  <a:pt x="2392" y="1558"/>
                  <a:pt x="2438" y="1518"/>
                  <a:pt x="2476" y="1476"/>
                </a:cubicBezTo>
                <a:cubicBezTo>
                  <a:pt x="2521" y="1425"/>
                  <a:pt x="2554" y="1371"/>
                  <a:pt x="2575" y="1316"/>
                </a:cubicBezTo>
                <a:cubicBezTo>
                  <a:pt x="2581" y="1299"/>
                  <a:pt x="2586" y="1282"/>
                  <a:pt x="2590" y="1265"/>
                </a:cubicBezTo>
                <a:cubicBezTo>
                  <a:pt x="3118" y="1265"/>
                  <a:pt x="3118" y="1265"/>
                  <a:pt x="3118" y="1265"/>
                </a:cubicBezTo>
                <a:cubicBezTo>
                  <a:pt x="3118" y="1397"/>
                  <a:pt x="3118" y="1397"/>
                  <a:pt x="3118" y="1397"/>
                </a:cubicBezTo>
                <a:lnTo>
                  <a:pt x="3451" y="1075"/>
                </a:lnTo>
                <a:close/>
                <a:moveTo>
                  <a:pt x="296" y="1195"/>
                </a:moveTo>
                <a:cubicBezTo>
                  <a:pt x="123" y="1195"/>
                  <a:pt x="123" y="1195"/>
                  <a:pt x="123" y="1195"/>
                </a:cubicBezTo>
                <a:cubicBezTo>
                  <a:pt x="123" y="1154"/>
                  <a:pt x="123" y="1154"/>
                  <a:pt x="123" y="1154"/>
                </a:cubicBezTo>
                <a:cubicBezTo>
                  <a:pt x="188" y="1154"/>
                  <a:pt x="188" y="1154"/>
                  <a:pt x="188" y="1154"/>
                </a:cubicBezTo>
                <a:cubicBezTo>
                  <a:pt x="188" y="1005"/>
                  <a:pt x="188" y="1005"/>
                  <a:pt x="188" y="1005"/>
                </a:cubicBezTo>
                <a:cubicBezTo>
                  <a:pt x="135" y="1028"/>
                  <a:pt x="135" y="1028"/>
                  <a:pt x="135" y="1028"/>
                </a:cubicBezTo>
                <a:cubicBezTo>
                  <a:pt x="118" y="991"/>
                  <a:pt x="118" y="991"/>
                  <a:pt x="118" y="991"/>
                </a:cubicBezTo>
                <a:cubicBezTo>
                  <a:pt x="201" y="956"/>
                  <a:pt x="201" y="956"/>
                  <a:pt x="201" y="956"/>
                </a:cubicBezTo>
                <a:cubicBezTo>
                  <a:pt x="231" y="956"/>
                  <a:pt x="231" y="956"/>
                  <a:pt x="231" y="956"/>
                </a:cubicBezTo>
                <a:cubicBezTo>
                  <a:pt x="231" y="1154"/>
                  <a:pt x="231" y="1154"/>
                  <a:pt x="231" y="1154"/>
                </a:cubicBezTo>
                <a:cubicBezTo>
                  <a:pt x="296" y="1154"/>
                  <a:pt x="296" y="1154"/>
                  <a:pt x="296" y="1154"/>
                </a:cubicBezTo>
                <a:lnTo>
                  <a:pt x="296" y="1195"/>
                </a:lnTo>
                <a:close/>
                <a:moveTo>
                  <a:pt x="447" y="1197"/>
                </a:moveTo>
                <a:cubicBezTo>
                  <a:pt x="377" y="1197"/>
                  <a:pt x="365" y="1127"/>
                  <a:pt x="365" y="1074"/>
                </a:cubicBezTo>
                <a:cubicBezTo>
                  <a:pt x="365" y="1022"/>
                  <a:pt x="378" y="953"/>
                  <a:pt x="447" y="953"/>
                </a:cubicBezTo>
                <a:cubicBezTo>
                  <a:pt x="517" y="953"/>
                  <a:pt x="530" y="1022"/>
                  <a:pt x="530" y="1074"/>
                </a:cubicBezTo>
                <a:cubicBezTo>
                  <a:pt x="530" y="1127"/>
                  <a:pt x="517" y="1197"/>
                  <a:pt x="447" y="1197"/>
                </a:cubicBezTo>
                <a:close/>
                <a:moveTo>
                  <a:pt x="693" y="1351"/>
                </a:moveTo>
                <a:cubicBezTo>
                  <a:pt x="678" y="1332"/>
                  <a:pt x="666" y="1313"/>
                  <a:pt x="655" y="1294"/>
                </a:cubicBezTo>
                <a:cubicBezTo>
                  <a:pt x="645" y="1278"/>
                  <a:pt x="637" y="1261"/>
                  <a:pt x="630" y="1245"/>
                </a:cubicBezTo>
                <a:cubicBezTo>
                  <a:pt x="630" y="1201"/>
                  <a:pt x="630" y="1201"/>
                  <a:pt x="630" y="1201"/>
                </a:cubicBezTo>
                <a:cubicBezTo>
                  <a:pt x="635" y="1213"/>
                  <a:pt x="641" y="1225"/>
                  <a:pt x="648" y="1237"/>
                </a:cubicBezTo>
                <a:cubicBezTo>
                  <a:pt x="651" y="1243"/>
                  <a:pt x="654" y="1249"/>
                  <a:pt x="658" y="1255"/>
                </a:cubicBezTo>
                <a:cubicBezTo>
                  <a:pt x="658" y="1177"/>
                  <a:pt x="658" y="1177"/>
                  <a:pt x="658" y="1177"/>
                </a:cubicBezTo>
                <a:cubicBezTo>
                  <a:pt x="658" y="1090"/>
                  <a:pt x="658" y="1090"/>
                  <a:pt x="658" y="1090"/>
                </a:cubicBezTo>
                <a:cubicBezTo>
                  <a:pt x="654" y="1087"/>
                  <a:pt x="650" y="1084"/>
                  <a:pt x="646" y="1080"/>
                </a:cubicBezTo>
                <a:cubicBezTo>
                  <a:pt x="646" y="1080"/>
                  <a:pt x="646" y="1080"/>
                  <a:pt x="646" y="1080"/>
                </a:cubicBezTo>
                <a:cubicBezTo>
                  <a:pt x="642" y="1077"/>
                  <a:pt x="638" y="1073"/>
                  <a:pt x="634" y="1070"/>
                </a:cubicBezTo>
                <a:cubicBezTo>
                  <a:pt x="630" y="1032"/>
                  <a:pt x="630" y="1032"/>
                  <a:pt x="630" y="1032"/>
                </a:cubicBezTo>
                <a:cubicBezTo>
                  <a:pt x="628" y="1016"/>
                  <a:pt x="628" y="1016"/>
                  <a:pt x="628" y="1016"/>
                </a:cubicBezTo>
                <a:cubicBezTo>
                  <a:pt x="638" y="1025"/>
                  <a:pt x="653" y="1037"/>
                  <a:pt x="664" y="1046"/>
                </a:cubicBezTo>
                <a:cubicBezTo>
                  <a:pt x="670" y="1054"/>
                  <a:pt x="675" y="1062"/>
                  <a:pt x="681" y="1070"/>
                </a:cubicBezTo>
                <a:cubicBezTo>
                  <a:pt x="681" y="1113"/>
                  <a:pt x="681" y="1113"/>
                  <a:pt x="681" y="1113"/>
                </a:cubicBezTo>
                <a:cubicBezTo>
                  <a:pt x="681" y="1205"/>
                  <a:pt x="681" y="1205"/>
                  <a:pt x="681" y="1205"/>
                </a:cubicBezTo>
                <a:cubicBezTo>
                  <a:pt x="681" y="1291"/>
                  <a:pt x="681" y="1291"/>
                  <a:pt x="681" y="1291"/>
                </a:cubicBezTo>
                <a:cubicBezTo>
                  <a:pt x="685" y="1296"/>
                  <a:pt x="689" y="1301"/>
                  <a:pt x="693" y="1306"/>
                </a:cubicBezTo>
                <a:cubicBezTo>
                  <a:pt x="703" y="1319"/>
                  <a:pt x="713" y="1331"/>
                  <a:pt x="724" y="1343"/>
                </a:cubicBezTo>
                <a:cubicBezTo>
                  <a:pt x="724" y="1388"/>
                  <a:pt x="724" y="1388"/>
                  <a:pt x="724" y="1388"/>
                </a:cubicBezTo>
                <a:cubicBezTo>
                  <a:pt x="713" y="1376"/>
                  <a:pt x="703" y="1364"/>
                  <a:pt x="693" y="1351"/>
                </a:cubicBezTo>
                <a:close/>
                <a:moveTo>
                  <a:pt x="816" y="1473"/>
                </a:moveTo>
                <a:cubicBezTo>
                  <a:pt x="800" y="1460"/>
                  <a:pt x="784" y="1447"/>
                  <a:pt x="769" y="1433"/>
                </a:cubicBezTo>
                <a:cubicBezTo>
                  <a:pt x="768" y="1388"/>
                  <a:pt x="768" y="1388"/>
                  <a:pt x="768" y="1388"/>
                </a:cubicBezTo>
                <a:cubicBezTo>
                  <a:pt x="783" y="1402"/>
                  <a:pt x="799" y="1415"/>
                  <a:pt x="815" y="1427"/>
                </a:cubicBezTo>
                <a:cubicBezTo>
                  <a:pt x="818" y="1430"/>
                  <a:pt x="821" y="1432"/>
                  <a:pt x="824" y="1434"/>
                </a:cubicBezTo>
                <a:cubicBezTo>
                  <a:pt x="823" y="1333"/>
                  <a:pt x="823" y="1333"/>
                  <a:pt x="823" y="1333"/>
                </a:cubicBezTo>
                <a:cubicBezTo>
                  <a:pt x="823" y="1322"/>
                  <a:pt x="823" y="1322"/>
                  <a:pt x="823" y="1322"/>
                </a:cubicBezTo>
                <a:cubicBezTo>
                  <a:pt x="823" y="1268"/>
                  <a:pt x="823" y="1268"/>
                  <a:pt x="823" y="1268"/>
                </a:cubicBezTo>
                <a:cubicBezTo>
                  <a:pt x="810" y="1265"/>
                  <a:pt x="792" y="1260"/>
                  <a:pt x="778" y="1257"/>
                </a:cubicBezTo>
                <a:cubicBezTo>
                  <a:pt x="776" y="1248"/>
                  <a:pt x="776" y="1248"/>
                  <a:pt x="776" y="1248"/>
                </a:cubicBezTo>
                <a:cubicBezTo>
                  <a:pt x="768" y="1218"/>
                  <a:pt x="768" y="1218"/>
                  <a:pt x="768" y="1218"/>
                </a:cubicBezTo>
                <a:cubicBezTo>
                  <a:pt x="767" y="1212"/>
                  <a:pt x="767" y="1212"/>
                  <a:pt x="767" y="1212"/>
                </a:cubicBezTo>
                <a:cubicBezTo>
                  <a:pt x="764" y="1204"/>
                  <a:pt x="764" y="1204"/>
                  <a:pt x="764" y="1204"/>
                </a:cubicBezTo>
                <a:cubicBezTo>
                  <a:pt x="785" y="1210"/>
                  <a:pt x="814" y="1217"/>
                  <a:pt x="835" y="1222"/>
                </a:cubicBezTo>
                <a:cubicBezTo>
                  <a:pt x="844" y="1229"/>
                  <a:pt x="853" y="1235"/>
                  <a:pt x="862" y="1241"/>
                </a:cubicBezTo>
                <a:cubicBezTo>
                  <a:pt x="862" y="1291"/>
                  <a:pt x="862" y="1291"/>
                  <a:pt x="862" y="1291"/>
                </a:cubicBezTo>
                <a:cubicBezTo>
                  <a:pt x="863" y="1360"/>
                  <a:pt x="863" y="1360"/>
                  <a:pt x="863" y="1360"/>
                </a:cubicBezTo>
                <a:cubicBezTo>
                  <a:pt x="863" y="1462"/>
                  <a:pt x="863" y="1462"/>
                  <a:pt x="863" y="1462"/>
                </a:cubicBezTo>
                <a:cubicBezTo>
                  <a:pt x="883" y="1475"/>
                  <a:pt x="905" y="1489"/>
                  <a:pt x="927" y="1501"/>
                </a:cubicBezTo>
                <a:cubicBezTo>
                  <a:pt x="927" y="1546"/>
                  <a:pt x="927" y="1546"/>
                  <a:pt x="927" y="1546"/>
                </a:cubicBezTo>
                <a:cubicBezTo>
                  <a:pt x="888" y="1523"/>
                  <a:pt x="850" y="1499"/>
                  <a:pt x="816" y="1473"/>
                </a:cubicBezTo>
                <a:close/>
                <a:moveTo>
                  <a:pt x="1172" y="1585"/>
                </a:moveTo>
                <a:cubicBezTo>
                  <a:pt x="1168" y="1596"/>
                  <a:pt x="1163" y="1604"/>
                  <a:pt x="1157" y="1611"/>
                </a:cubicBezTo>
                <a:cubicBezTo>
                  <a:pt x="1141" y="1628"/>
                  <a:pt x="1119" y="1632"/>
                  <a:pt x="1096" y="1627"/>
                </a:cubicBezTo>
                <a:cubicBezTo>
                  <a:pt x="1063" y="1619"/>
                  <a:pt x="1028" y="1592"/>
                  <a:pt x="1010" y="1557"/>
                </a:cubicBezTo>
                <a:cubicBezTo>
                  <a:pt x="1006" y="1548"/>
                  <a:pt x="987" y="1483"/>
                  <a:pt x="988" y="1427"/>
                </a:cubicBezTo>
                <a:cubicBezTo>
                  <a:pt x="989" y="1406"/>
                  <a:pt x="992" y="1385"/>
                  <a:pt x="1001" y="1371"/>
                </a:cubicBezTo>
                <a:cubicBezTo>
                  <a:pt x="1014" y="1348"/>
                  <a:pt x="1039" y="1338"/>
                  <a:pt x="1082" y="1351"/>
                </a:cubicBezTo>
                <a:cubicBezTo>
                  <a:pt x="1127" y="1368"/>
                  <a:pt x="1152" y="1398"/>
                  <a:pt x="1166" y="1431"/>
                </a:cubicBezTo>
                <a:cubicBezTo>
                  <a:pt x="1167" y="1434"/>
                  <a:pt x="1168" y="1437"/>
                  <a:pt x="1169" y="1439"/>
                </a:cubicBezTo>
                <a:cubicBezTo>
                  <a:pt x="1176" y="1458"/>
                  <a:pt x="1179" y="1476"/>
                  <a:pt x="1181" y="1494"/>
                </a:cubicBezTo>
                <a:cubicBezTo>
                  <a:pt x="1184" y="1543"/>
                  <a:pt x="1173" y="1584"/>
                  <a:pt x="1172" y="1585"/>
                </a:cubicBezTo>
                <a:close/>
                <a:moveTo>
                  <a:pt x="1270" y="1671"/>
                </a:moveTo>
                <a:cubicBezTo>
                  <a:pt x="1270" y="1627"/>
                  <a:pt x="1270" y="1627"/>
                  <a:pt x="1270" y="1627"/>
                </a:cubicBezTo>
                <a:cubicBezTo>
                  <a:pt x="1298" y="1633"/>
                  <a:pt x="1327" y="1638"/>
                  <a:pt x="1356" y="1643"/>
                </a:cubicBezTo>
                <a:cubicBezTo>
                  <a:pt x="1356" y="1528"/>
                  <a:pt x="1356" y="1528"/>
                  <a:pt x="1356" y="1528"/>
                </a:cubicBezTo>
                <a:cubicBezTo>
                  <a:pt x="1355" y="1477"/>
                  <a:pt x="1355" y="1477"/>
                  <a:pt x="1355" y="1477"/>
                </a:cubicBezTo>
                <a:cubicBezTo>
                  <a:pt x="1335" y="1481"/>
                  <a:pt x="1307" y="1486"/>
                  <a:pt x="1286" y="1489"/>
                </a:cubicBezTo>
                <a:cubicBezTo>
                  <a:pt x="1270" y="1456"/>
                  <a:pt x="1270" y="1456"/>
                  <a:pt x="1270" y="1456"/>
                </a:cubicBezTo>
                <a:cubicBezTo>
                  <a:pt x="1264" y="1444"/>
                  <a:pt x="1264" y="1444"/>
                  <a:pt x="1264" y="1444"/>
                </a:cubicBezTo>
                <a:cubicBezTo>
                  <a:pt x="1297" y="1439"/>
                  <a:pt x="1340" y="1431"/>
                  <a:pt x="1373" y="1425"/>
                </a:cubicBezTo>
                <a:cubicBezTo>
                  <a:pt x="1386" y="1427"/>
                  <a:pt x="1399" y="1429"/>
                  <a:pt x="1412" y="1430"/>
                </a:cubicBezTo>
                <a:cubicBezTo>
                  <a:pt x="1413" y="1477"/>
                  <a:pt x="1413" y="1477"/>
                  <a:pt x="1413" y="1477"/>
                </a:cubicBezTo>
                <a:cubicBezTo>
                  <a:pt x="1413" y="1534"/>
                  <a:pt x="1413" y="1534"/>
                  <a:pt x="1413" y="1534"/>
                </a:cubicBezTo>
                <a:cubicBezTo>
                  <a:pt x="1413" y="1651"/>
                  <a:pt x="1413" y="1651"/>
                  <a:pt x="1413" y="1651"/>
                </a:cubicBezTo>
                <a:cubicBezTo>
                  <a:pt x="1442" y="1654"/>
                  <a:pt x="1472" y="1657"/>
                  <a:pt x="1501" y="1659"/>
                </a:cubicBezTo>
                <a:cubicBezTo>
                  <a:pt x="1501" y="1703"/>
                  <a:pt x="1501" y="1703"/>
                  <a:pt x="1501" y="1703"/>
                </a:cubicBezTo>
                <a:cubicBezTo>
                  <a:pt x="1422" y="1698"/>
                  <a:pt x="1345" y="1687"/>
                  <a:pt x="1270" y="1671"/>
                </a:cubicBezTo>
                <a:close/>
                <a:moveTo>
                  <a:pt x="1625" y="1693"/>
                </a:moveTo>
                <a:cubicBezTo>
                  <a:pt x="1623" y="1692"/>
                  <a:pt x="1622" y="1691"/>
                  <a:pt x="1620" y="1689"/>
                </a:cubicBezTo>
                <a:cubicBezTo>
                  <a:pt x="1580" y="1654"/>
                  <a:pt x="1577" y="1586"/>
                  <a:pt x="1583" y="1542"/>
                </a:cubicBezTo>
                <a:cubicBezTo>
                  <a:pt x="1584" y="1534"/>
                  <a:pt x="1586" y="1526"/>
                  <a:pt x="1587" y="1519"/>
                </a:cubicBezTo>
                <a:cubicBezTo>
                  <a:pt x="1591" y="1506"/>
                  <a:pt x="1596" y="1495"/>
                  <a:pt x="1602" y="1485"/>
                </a:cubicBezTo>
                <a:cubicBezTo>
                  <a:pt x="1628" y="1446"/>
                  <a:pt x="1672" y="1442"/>
                  <a:pt x="1695" y="1440"/>
                </a:cubicBezTo>
                <a:cubicBezTo>
                  <a:pt x="1737" y="1438"/>
                  <a:pt x="1768" y="1449"/>
                  <a:pt x="1786" y="1475"/>
                </a:cubicBezTo>
                <a:cubicBezTo>
                  <a:pt x="1797" y="1489"/>
                  <a:pt x="1804" y="1507"/>
                  <a:pt x="1807" y="1530"/>
                </a:cubicBezTo>
                <a:cubicBezTo>
                  <a:pt x="1807" y="1530"/>
                  <a:pt x="1808" y="1530"/>
                  <a:pt x="1808" y="1531"/>
                </a:cubicBezTo>
                <a:cubicBezTo>
                  <a:pt x="1834" y="1705"/>
                  <a:pt x="1690" y="1741"/>
                  <a:pt x="1625" y="1693"/>
                </a:cubicBezTo>
                <a:close/>
                <a:moveTo>
                  <a:pt x="2080" y="1636"/>
                </a:moveTo>
                <a:cubicBezTo>
                  <a:pt x="2068" y="1640"/>
                  <a:pt x="2055" y="1644"/>
                  <a:pt x="2042" y="1648"/>
                </a:cubicBezTo>
                <a:cubicBezTo>
                  <a:pt x="2034" y="1650"/>
                  <a:pt x="2027" y="1652"/>
                  <a:pt x="2020" y="1654"/>
                </a:cubicBezTo>
                <a:cubicBezTo>
                  <a:pt x="1982" y="1664"/>
                  <a:pt x="1945" y="1673"/>
                  <a:pt x="1907" y="1680"/>
                </a:cubicBezTo>
                <a:cubicBezTo>
                  <a:pt x="1907" y="1635"/>
                  <a:pt x="1907" y="1635"/>
                  <a:pt x="1907" y="1635"/>
                </a:cubicBezTo>
                <a:cubicBezTo>
                  <a:pt x="1936" y="1629"/>
                  <a:pt x="1966" y="1623"/>
                  <a:pt x="1996" y="1616"/>
                </a:cubicBezTo>
                <a:cubicBezTo>
                  <a:pt x="1995" y="1495"/>
                  <a:pt x="1995" y="1495"/>
                  <a:pt x="1995" y="1495"/>
                </a:cubicBezTo>
                <a:cubicBezTo>
                  <a:pt x="1995" y="1450"/>
                  <a:pt x="1995" y="1450"/>
                  <a:pt x="1995" y="1450"/>
                </a:cubicBezTo>
                <a:cubicBezTo>
                  <a:pt x="1974" y="1463"/>
                  <a:pt x="1945" y="1479"/>
                  <a:pt x="1923" y="1491"/>
                </a:cubicBezTo>
                <a:cubicBezTo>
                  <a:pt x="1901" y="1457"/>
                  <a:pt x="1901" y="1457"/>
                  <a:pt x="1901" y="1457"/>
                </a:cubicBezTo>
                <a:cubicBezTo>
                  <a:pt x="1900" y="1455"/>
                  <a:pt x="1900" y="1455"/>
                  <a:pt x="1900" y="1455"/>
                </a:cubicBezTo>
                <a:cubicBezTo>
                  <a:pt x="1934" y="1436"/>
                  <a:pt x="1979" y="1410"/>
                  <a:pt x="2013" y="1391"/>
                </a:cubicBezTo>
                <a:cubicBezTo>
                  <a:pt x="2022" y="1388"/>
                  <a:pt x="2032" y="1386"/>
                  <a:pt x="2041" y="1383"/>
                </a:cubicBezTo>
                <a:cubicBezTo>
                  <a:pt x="2045" y="1382"/>
                  <a:pt x="2049" y="1381"/>
                  <a:pt x="2053" y="1380"/>
                </a:cubicBezTo>
                <a:cubicBezTo>
                  <a:pt x="2053" y="1419"/>
                  <a:pt x="2053" y="1419"/>
                  <a:pt x="2053" y="1419"/>
                </a:cubicBezTo>
                <a:cubicBezTo>
                  <a:pt x="2053" y="1478"/>
                  <a:pt x="2053" y="1478"/>
                  <a:pt x="2053" y="1478"/>
                </a:cubicBezTo>
                <a:cubicBezTo>
                  <a:pt x="2053" y="1600"/>
                  <a:pt x="2053" y="1600"/>
                  <a:pt x="2053" y="1600"/>
                </a:cubicBezTo>
                <a:cubicBezTo>
                  <a:pt x="2062" y="1597"/>
                  <a:pt x="2071" y="1594"/>
                  <a:pt x="2080" y="1591"/>
                </a:cubicBezTo>
                <a:cubicBezTo>
                  <a:pt x="2099" y="1585"/>
                  <a:pt x="2118" y="1579"/>
                  <a:pt x="2137" y="1572"/>
                </a:cubicBezTo>
                <a:cubicBezTo>
                  <a:pt x="2137" y="1617"/>
                  <a:pt x="2137" y="1617"/>
                  <a:pt x="2137" y="1617"/>
                </a:cubicBezTo>
                <a:cubicBezTo>
                  <a:pt x="2118" y="1623"/>
                  <a:pt x="2100" y="1630"/>
                  <a:pt x="2080" y="1636"/>
                </a:cubicBezTo>
                <a:close/>
                <a:moveTo>
                  <a:pt x="2357" y="1506"/>
                </a:moveTo>
                <a:cubicBezTo>
                  <a:pt x="2313" y="1536"/>
                  <a:pt x="2263" y="1563"/>
                  <a:pt x="2208" y="1588"/>
                </a:cubicBezTo>
                <a:cubicBezTo>
                  <a:pt x="2208" y="1543"/>
                  <a:pt x="2208" y="1543"/>
                  <a:pt x="2208" y="1543"/>
                </a:cubicBezTo>
                <a:cubicBezTo>
                  <a:pt x="2233" y="1532"/>
                  <a:pt x="2257" y="1520"/>
                  <a:pt x="2280" y="1508"/>
                </a:cubicBezTo>
                <a:cubicBezTo>
                  <a:pt x="2280" y="1380"/>
                  <a:pt x="2280" y="1380"/>
                  <a:pt x="2280" y="1380"/>
                </a:cubicBezTo>
                <a:cubicBezTo>
                  <a:pt x="2280" y="1342"/>
                  <a:pt x="2280" y="1342"/>
                  <a:pt x="2280" y="1342"/>
                </a:cubicBezTo>
                <a:cubicBezTo>
                  <a:pt x="2263" y="1359"/>
                  <a:pt x="2239" y="1380"/>
                  <a:pt x="2222" y="1396"/>
                </a:cubicBezTo>
                <a:cubicBezTo>
                  <a:pt x="2202" y="1364"/>
                  <a:pt x="2202" y="1364"/>
                  <a:pt x="2202" y="1364"/>
                </a:cubicBezTo>
                <a:cubicBezTo>
                  <a:pt x="2208" y="1359"/>
                  <a:pt x="2214" y="1354"/>
                  <a:pt x="2220" y="1349"/>
                </a:cubicBezTo>
                <a:cubicBezTo>
                  <a:pt x="2244" y="1327"/>
                  <a:pt x="2272" y="1301"/>
                  <a:pt x="2294" y="1280"/>
                </a:cubicBezTo>
                <a:cubicBezTo>
                  <a:pt x="2304" y="1274"/>
                  <a:pt x="2314" y="1268"/>
                  <a:pt x="2324" y="1262"/>
                </a:cubicBezTo>
                <a:cubicBezTo>
                  <a:pt x="2324" y="1284"/>
                  <a:pt x="2324" y="1284"/>
                  <a:pt x="2324" y="1284"/>
                </a:cubicBezTo>
                <a:cubicBezTo>
                  <a:pt x="2324" y="1353"/>
                  <a:pt x="2324" y="1353"/>
                  <a:pt x="2324" y="1353"/>
                </a:cubicBezTo>
                <a:cubicBezTo>
                  <a:pt x="2324" y="1483"/>
                  <a:pt x="2324" y="1483"/>
                  <a:pt x="2324" y="1483"/>
                </a:cubicBezTo>
                <a:cubicBezTo>
                  <a:pt x="2337" y="1475"/>
                  <a:pt x="2349" y="1467"/>
                  <a:pt x="2361" y="1459"/>
                </a:cubicBezTo>
                <a:cubicBezTo>
                  <a:pt x="2369" y="1453"/>
                  <a:pt x="2378" y="1448"/>
                  <a:pt x="2386" y="1442"/>
                </a:cubicBezTo>
                <a:cubicBezTo>
                  <a:pt x="2386" y="1486"/>
                  <a:pt x="2386" y="1486"/>
                  <a:pt x="2386" y="1486"/>
                </a:cubicBezTo>
                <a:cubicBezTo>
                  <a:pt x="2376" y="1493"/>
                  <a:pt x="2367" y="1500"/>
                  <a:pt x="2357" y="1506"/>
                </a:cubicBezTo>
                <a:close/>
                <a:moveTo>
                  <a:pt x="2534" y="1312"/>
                </a:moveTo>
                <a:cubicBezTo>
                  <a:pt x="2527" y="1345"/>
                  <a:pt x="2516" y="1369"/>
                  <a:pt x="2503" y="1386"/>
                </a:cubicBezTo>
                <a:cubicBezTo>
                  <a:pt x="2490" y="1405"/>
                  <a:pt x="2476" y="1414"/>
                  <a:pt x="2465" y="1413"/>
                </a:cubicBezTo>
                <a:cubicBezTo>
                  <a:pt x="2456" y="1413"/>
                  <a:pt x="2447" y="1403"/>
                  <a:pt x="2441" y="1386"/>
                </a:cubicBezTo>
                <a:cubicBezTo>
                  <a:pt x="2432" y="1358"/>
                  <a:pt x="2429" y="1314"/>
                  <a:pt x="2436" y="1266"/>
                </a:cubicBezTo>
                <a:cubicBezTo>
                  <a:pt x="2441" y="1228"/>
                  <a:pt x="2453" y="1189"/>
                  <a:pt x="2473" y="1155"/>
                </a:cubicBezTo>
                <a:cubicBezTo>
                  <a:pt x="2480" y="1144"/>
                  <a:pt x="2487" y="1134"/>
                  <a:pt x="2495" y="1124"/>
                </a:cubicBezTo>
                <a:cubicBezTo>
                  <a:pt x="2512" y="1107"/>
                  <a:pt x="2523" y="1102"/>
                  <a:pt x="2531" y="1109"/>
                </a:cubicBezTo>
                <a:cubicBezTo>
                  <a:pt x="2531" y="1110"/>
                  <a:pt x="2532" y="1111"/>
                  <a:pt x="2532" y="1111"/>
                </a:cubicBezTo>
                <a:cubicBezTo>
                  <a:pt x="2532" y="1111"/>
                  <a:pt x="2532" y="1111"/>
                  <a:pt x="2532" y="1111"/>
                </a:cubicBezTo>
                <a:cubicBezTo>
                  <a:pt x="2549" y="1135"/>
                  <a:pt x="2549" y="1246"/>
                  <a:pt x="2534" y="1312"/>
                </a:cubicBezTo>
                <a:close/>
                <a:moveTo>
                  <a:pt x="2737" y="1197"/>
                </a:moveTo>
                <a:cubicBezTo>
                  <a:pt x="2667" y="1197"/>
                  <a:pt x="2654" y="1127"/>
                  <a:pt x="2654" y="1074"/>
                </a:cubicBezTo>
                <a:cubicBezTo>
                  <a:pt x="2654" y="1022"/>
                  <a:pt x="2668" y="953"/>
                  <a:pt x="2737" y="953"/>
                </a:cubicBezTo>
                <a:cubicBezTo>
                  <a:pt x="2806" y="953"/>
                  <a:pt x="2819" y="1022"/>
                  <a:pt x="2819" y="1074"/>
                </a:cubicBezTo>
                <a:cubicBezTo>
                  <a:pt x="2819" y="1127"/>
                  <a:pt x="2807" y="1197"/>
                  <a:pt x="2737" y="1197"/>
                </a:cubicBezTo>
                <a:close/>
                <a:moveTo>
                  <a:pt x="3062" y="1195"/>
                </a:moveTo>
                <a:cubicBezTo>
                  <a:pt x="2889" y="1195"/>
                  <a:pt x="2889" y="1195"/>
                  <a:pt x="2889" y="1195"/>
                </a:cubicBezTo>
                <a:cubicBezTo>
                  <a:pt x="2889" y="1154"/>
                  <a:pt x="2889" y="1154"/>
                  <a:pt x="2889" y="1154"/>
                </a:cubicBezTo>
                <a:cubicBezTo>
                  <a:pt x="2954" y="1154"/>
                  <a:pt x="2954" y="1154"/>
                  <a:pt x="2954" y="1154"/>
                </a:cubicBezTo>
                <a:cubicBezTo>
                  <a:pt x="2954" y="1005"/>
                  <a:pt x="2954" y="1005"/>
                  <a:pt x="2954" y="1005"/>
                </a:cubicBezTo>
                <a:cubicBezTo>
                  <a:pt x="2902" y="1028"/>
                  <a:pt x="2902" y="1028"/>
                  <a:pt x="2902" y="1028"/>
                </a:cubicBezTo>
                <a:cubicBezTo>
                  <a:pt x="2885" y="991"/>
                  <a:pt x="2885" y="991"/>
                  <a:pt x="2885" y="991"/>
                </a:cubicBezTo>
                <a:cubicBezTo>
                  <a:pt x="2967" y="956"/>
                  <a:pt x="2967" y="956"/>
                  <a:pt x="2967" y="956"/>
                </a:cubicBezTo>
                <a:cubicBezTo>
                  <a:pt x="2997" y="956"/>
                  <a:pt x="2997" y="956"/>
                  <a:pt x="2997" y="956"/>
                </a:cubicBezTo>
                <a:cubicBezTo>
                  <a:pt x="2997" y="1154"/>
                  <a:pt x="2997" y="1154"/>
                  <a:pt x="2997" y="1154"/>
                </a:cubicBezTo>
                <a:cubicBezTo>
                  <a:pt x="3062" y="1154"/>
                  <a:pt x="3062" y="1154"/>
                  <a:pt x="3062" y="1154"/>
                </a:cubicBezTo>
                <a:lnTo>
                  <a:pt x="3062" y="1195"/>
                </a:lnTo>
                <a:close/>
                <a:moveTo>
                  <a:pt x="1111" y="1423"/>
                </a:moveTo>
                <a:cubicBezTo>
                  <a:pt x="1108" y="1419"/>
                  <a:pt x="1106" y="1415"/>
                  <a:pt x="1103" y="1412"/>
                </a:cubicBezTo>
                <a:cubicBezTo>
                  <a:pt x="1092" y="1397"/>
                  <a:pt x="1078" y="1390"/>
                  <a:pt x="1062" y="1395"/>
                </a:cubicBezTo>
                <a:cubicBezTo>
                  <a:pt x="1061" y="1395"/>
                  <a:pt x="1060" y="1395"/>
                  <a:pt x="1059" y="1396"/>
                </a:cubicBezTo>
                <a:cubicBezTo>
                  <a:pt x="1045" y="1402"/>
                  <a:pt x="1039" y="1425"/>
                  <a:pt x="1038" y="1448"/>
                </a:cubicBezTo>
                <a:cubicBezTo>
                  <a:pt x="1036" y="1472"/>
                  <a:pt x="1038" y="1496"/>
                  <a:pt x="1038" y="1498"/>
                </a:cubicBezTo>
                <a:cubicBezTo>
                  <a:pt x="1046" y="1564"/>
                  <a:pt x="1073" y="1575"/>
                  <a:pt x="1082" y="1578"/>
                </a:cubicBezTo>
                <a:cubicBezTo>
                  <a:pt x="1087" y="1580"/>
                  <a:pt x="1092" y="1581"/>
                  <a:pt x="1097" y="1580"/>
                </a:cubicBezTo>
                <a:cubicBezTo>
                  <a:pt x="1105" y="1579"/>
                  <a:pt x="1112" y="1575"/>
                  <a:pt x="1117" y="1566"/>
                </a:cubicBezTo>
                <a:cubicBezTo>
                  <a:pt x="1129" y="1544"/>
                  <a:pt x="1132" y="1511"/>
                  <a:pt x="1128" y="1480"/>
                </a:cubicBezTo>
                <a:cubicBezTo>
                  <a:pt x="1125" y="1459"/>
                  <a:pt x="1119" y="1439"/>
                  <a:pt x="1111" y="1423"/>
                </a:cubicBezTo>
                <a:close/>
                <a:moveTo>
                  <a:pt x="2509" y="1164"/>
                </a:moveTo>
                <a:cubicBezTo>
                  <a:pt x="2502" y="1159"/>
                  <a:pt x="2480" y="1174"/>
                  <a:pt x="2472" y="1231"/>
                </a:cubicBezTo>
                <a:cubicBezTo>
                  <a:pt x="2469" y="1250"/>
                  <a:pt x="2467" y="1273"/>
                  <a:pt x="2468" y="1302"/>
                </a:cubicBezTo>
                <a:cubicBezTo>
                  <a:pt x="2469" y="1330"/>
                  <a:pt x="2474" y="1373"/>
                  <a:pt x="2495" y="1351"/>
                </a:cubicBezTo>
                <a:cubicBezTo>
                  <a:pt x="2521" y="1323"/>
                  <a:pt x="2525" y="1221"/>
                  <a:pt x="2516" y="1180"/>
                </a:cubicBezTo>
                <a:cubicBezTo>
                  <a:pt x="2514" y="1171"/>
                  <a:pt x="2512" y="1165"/>
                  <a:pt x="2509" y="1164"/>
                </a:cubicBezTo>
                <a:close/>
              </a:path>
            </a:pathLst>
          </a:custGeom>
          <a:solidFill>
            <a:schemeClr val="tx1">
              <a:lumMod val="10000"/>
              <a:lumOff val="90000"/>
            </a:schemeClr>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35549111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223507007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7192"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smtClean="0"/>
              <a:t>Configuring Media Type Formatters </a:t>
            </a:r>
            <a:endParaRPr lang="en-US" dirty="0"/>
          </a:p>
        </p:txBody>
      </p:sp>
      <p:sp>
        <p:nvSpPr>
          <p:cNvPr id="4" name="Content Placeholder 3"/>
          <p:cNvSpPr>
            <a:spLocks noGrp="1"/>
          </p:cNvSpPr>
          <p:nvPr>
            <p:ph type="body" sz="quarter" idx="10"/>
            <p:custDataLst>
              <p:tags r:id="rId4"/>
            </p:custDataLst>
          </p:nvPr>
        </p:nvSpPr>
        <p:spPr>
          <a:xfrm>
            <a:off x="519112" y="1424049"/>
            <a:ext cx="11149013" cy="3385542"/>
          </a:xfrm>
        </p:spPr>
        <p:txBody>
          <a:bodyPr/>
          <a:lstStyle/>
          <a:p>
            <a:pPr>
              <a:spcAft>
                <a:spcPts val="1200"/>
              </a:spcAft>
            </a:pPr>
            <a:r>
              <a:rPr lang="en-US" sz="4000" dirty="0">
                <a:gradFill>
                  <a:gsLst>
                    <a:gs pos="0">
                      <a:schemeClr val="accent2"/>
                    </a:gs>
                    <a:gs pos="100000">
                      <a:schemeClr val="accent2"/>
                    </a:gs>
                  </a:gsLst>
                  <a:lin ang="5400000" scaled="0"/>
                </a:gradFill>
                <a:latin typeface="Segoe UI Light" pitchFamily="34" charset="0"/>
              </a:rPr>
              <a:t>Why?</a:t>
            </a:r>
          </a:p>
          <a:p>
            <a:pPr>
              <a:spcAft>
                <a:spcPts val="1200"/>
              </a:spcAft>
            </a:pPr>
            <a:r>
              <a:rPr lang="en-US" sz="4000" dirty="0" smtClean="0">
                <a:latin typeface="Segoe UI Light" pitchFamily="34" charset="0"/>
              </a:rPr>
              <a:t>Tweak our Xml/</a:t>
            </a:r>
            <a:r>
              <a:rPr lang="en-US" sz="4000" dirty="0" err="1" smtClean="0">
                <a:latin typeface="Segoe UI Light" pitchFamily="34" charset="0"/>
              </a:rPr>
              <a:t>Json</a:t>
            </a:r>
            <a:r>
              <a:rPr lang="en-US" sz="4000" dirty="0" smtClean="0">
                <a:latin typeface="Segoe UI Light" pitchFamily="34" charset="0"/>
              </a:rPr>
              <a:t> formatters</a:t>
            </a:r>
          </a:p>
          <a:p>
            <a:pPr>
              <a:spcAft>
                <a:spcPts val="1200"/>
              </a:spcAft>
            </a:pPr>
            <a:r>
              <a:rPr lang="en-US" sz="4000" dirty="0" err="1" smtClean="0">
                <a:latin typeface="Segoe UI Light" pitchFamily="34" charset="0"/>
              </a:rPr>
              <a:t>OData</a:t>
            </a:r>
            <a:r>
              <a:rPr lang="en-US" sz="4000" dirty="0" smtClean="0">
                <a:latin typeface="Segoe UI Light" pitchFamily="34" charset="0"/>
              </a:rPr>
              <a:t> clients</a:t>
            </a:r>
          </a:p>
          <a:p>
            <a:pPr>
              <a:spcAft>
                <a:spcPts val="1200"/>
              </a:spcAft>
            </a:pPr>
            <a:r>
              <a:rPr lang="en-US" sz="4000" dirty="0" smtClean="0">
                <a:latin typeface="Segoe UI Light" pitchFamily="34" charset="0"/>
              </a:rPr>
              <a:t>Other native/non-browser clients </a:t>
            </a:r>
          </a:p>
          <a:p>
            <a:pPr>
              <a:spcAft>
                <a:spcPts val="1200"/>
              </a:spcAft>
            </a:pPr>
            <a:r>
              <a:rPr lang="en-US" sz="4000" dirty="0" smtClean="0">
                <a:latin typeface="Segoe UI Light" pitchFamily="34" charset="0"/>
              </a:rPr>
              <a:t>Custom media types</a:t>
            </a:r>
            <a:endParaRPr lang="en-US" sz="4000" dirty="0">
              <a:latin typeface="Segoe UI Light" pitchFamily="34" charset="0"/>
            </a:endParaRPr>
          </a:p>
        </p:txBody>
      </p:sp>
      <p:sp>
        <p:nvSpPr>
          <p:cNvPr id="7" name="Rectangle 6"/>
          <p:cNvSpPr/>
          <p:nvPr/>
        </p:nvSpPr>
        <p:spPr bwMode="auto">
          <a:xfrm>
            <a:off x="9072081" y="1141413"/>
            <a:ext cx="2603981" cy="571658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8" name="Freeform 14"/>
          <p:cNvSpPr>
            <a:spLocks noEditPoints="1"/>
          </p:cNvSpPr>
          <p:nvPr/>
        </p:nvSpPr>
        <p:spPr bwMode="black">
          <a:xfrm>
            <a:off x="9334341" y="1558136"/>
            <a:ext cx="2079459" cy="2078915"/>
          </a:xfrm>
          <a:custGeom>
            <a:avLst/>
            <a:gdLst>
              <a:gd name="T0" fmla="*/ 518 w 709"/>
              <a:gd name="T1" fmla="*/ 343 h 709"/>
              <a:gd name="T2" fmla="*/ 449 w 709"/>
              <a:gd name="T3" fmla="*/ 258 h 709"/>
              <a:gd name="T4" fmla="*/ 362 w 709"/>
              <a:gd name="T5" fmla="*/ 189 h 709"/>
              <a:gd name="T6" fmla="*/ 449 w 709"/>
              <a:gd name="T7" fmla="*/ 0 h 709"/>
              <a:gd name="T8" fmla="*/ 260 w 709"/>
              <a:gd name="T9" fmla="*/ 189 h 709"/>
              <a:gd name="T10" fmla="*/ 345 w 709"/>
              <a:gd name="T11" fmla="*/ 258 h 709"/>
              <a:gd name="T12" fmla="*/ 260 w 709"/>
              <a:gd name="T13" fmla="*/ 343 h 709"/>
              <a:gd name="T14" fmla="*/ 189 w 709"/>
              <a:gd name="T15" fmla="*/ 258 h 709"/>
              <a:gd name="T16" fmla="*/ 0 w 709"/>
              <a:gd name="T17" fmla="*/ 447 h 709"/>
              <a:gd name="T18" fmla="*/ 85 w 709"/>
              <a:gd name="T19" fmla="*/ 520 h 709"/>
              <a:gd name="T20" fmla="*/ 0 w 709"/>
              <a:gd name="T21" fmla="*/ 709 h 709"/>
              <a:gd name="T22" fmla="*/ 189 w 709"/>
              <a:gd name="T23" fmla="*/ 520 h 709"/>
              <a:gd name="T24" fmla="*/ 104 w 709"/>
              <a:gd name="T25" fmla="*/ 447 h 709"/>
              <a:gd name="T26" fmla="*/ 189 w 709"/>
              <a:gd name="T27" fmla="*/ 362 h 709"/>
              <a:gd name="T28" fmla="*/ 260 w 709"/>
              <a:gd name="T29" fmla="*/ 447 h 709"/>
              <a:gd name="T30" fmla="*/ 345 w 709"/>
              <a:gd name="T31" fmla="*/ 520 h 709"/>
              <a:gd name="T32" fmla="*/ 260 w 709"/>
              <a:gd name="T33" fmla="*/ 709 h 709"/>
              <a:gd name="T34" fmla="*/ 449 w 709"/>
              <a:gd name="T35" fmla="*/ 520 h 709"/>
              <a:gd name="T36" fmla="*/ 362 w 709"/>
              <a:gd name="T37" fmla="*/ 447 h 709"/>
              <a:gd name="T38" fmla="*/ 449 w 709"/>
              <a:gd name="T39" fmla="*/ 362 h 709"/>
              <a:gd name="T40" fmla="*/ 518 w 709"/>
              <a:gd name="T41" fmla="*/ 447 h 709"/>
              <a:gd name="T42" fmla="*/ 709 w 709"/>
              <a:gd name="T43" fmla="*/ 258 h 709"/>
              <a:gd name="T44" fmla="*/ 277 w 709"/>
              <a:gd name="T45" fmla="*/ 17 h 709"/>
              <a:gd name="T46" fmla="*/ 433 w 709"/>
              <a:gd name="T47" fmla="*/ 170 h 709"/>
              <a:gd name="T48" fmla="*/ 277 w 709"/>
              <a:gd name="T49" fmla="*/ 17 h 709"/>
              <a:gd name="T50" fmla="*/ 17 w 709"/>
              <a:gd name="T51" fmla="*/ 690 h 709"/>
              <a:gd name="T52" fmla="*/ 173 w 709"/>
              <a:gd name="T53" fmla="*/ 536 h 709"/>
              <a:gd name="T54" fmla="*/ 173 w 709"/>
              <a:gd name="T55" fmla="*/ 430 h 709"/>
              <a:gd name="T56" fmla="*/ 17 w 709"/>
              <a:gd name="T57" fmla="*/ 274 h 709"/>
              <a:gd name="T58" fmla="*/ 173 w 709"/>
              <a:gd name="T59" fmla="*/ 430 h 709"/>
              <a:gd name="T60" fmla="*/ 277 w 709"/>
              <a:gd name="T61" fmla="*/ 690 h 709"/>
              <a:gd name="T62" fmla="*/ 433 w 709"/>
              <a:gd name="T63" fmla="*/ 536 h 709"/>
              <a:gd name="T64" fmla="*/ 433 w 709"/>
              <a:gd name="T65" fmla="*/ 430 h 709"/>
              <a:gd name="T66" fmla="*/ 277 w 709"/>
              <a:gd name="T67" fmla="*/ 274 h 709"/>
              <a:gd name="T68" fmla="*/ 433 w 709"/>
              <a:gd name="T69" fmla="*/ 430 h 709"/>
              <a:gd name="T70" fmla="*/ 536 w 709"/>
              <a:gd name="T71" fmla="*/ 430 h 709"/>
              <a:gd name="T72" fmla="*/ 690 w 709"/>
              <a:gd name="T73" fmla="*/ 274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09" h="709">
                <a:moveTo>
                  <a:pt x="518" y="258"/>
                </a:moveTo>
                <a:lnTo>
                  <a:pt x="518" y="343"/>
                </a:lnTo>
                <a:lnTo>
                  <a:pt x="449" y="343"/>
                </a:lnTo>
                <a:lnTo>
                  <a:pt x="449" y="258"/>
                </a:lnTo>
                <a:lnTo>
                  <a:pt x="362" y="258"/>
                </a:lnTo>
                <a:lnTo>
                  <a:pt x="362" y="189"/>
                </a:lnTo>
                <a:lnTo>
                  <a:pt x="449" y="189"/>
                </a:lnTo>
                <a:lnTo>
                  <a:pt x="449" y="0"/>
                </a:lnTo>
                <a:lnTo>
                  <a:pt x="260" y="0"/>
                </a:lnTo>
                <a:lnTo>
                  <a:pt x="260" y="189"/>
                </a:lnTo>
                <a:lnTo>
                  <a:pt x="345" y="189"/>
                </a:lnTo>
                <a:lnTo>
                  <a:pt x="345" y="258"/>
                </a:lnTo>
                <a:lnTo>
                  <a:pt x="260" y="258"/>
                </a:lnTo>
                <a:lnTo>
                  <a:pt x="260" y="343"/>
                </a:lnTo>
                <a:lnTo>
                  <a:pt x="189" y="343"/>
                </a:lnTo>
                <a:lnTo>
                  <a:pt x="189" y="258"/>
                </a:lnTo>
                <a:lnTo>
                  <a:pt x="0" y="258"/>
                </a:lnTo>
                <a:lnTo>
                  <a:pt x="0" y="447"/>
                </a:lnTo>
                <a:lnTo>
                  <a:pt x="85" y="447"/>
                </a:lnTo>
                <a:lnTo>
                  <a:pt x="85" y="520"/>
                </a:lnTo>
                <a:lnTo>
                  <a:pt x="0" y="520"/>
                </a:lnTo>
                <a:lnTo>
                  <a:pt x="0" y="709"/>
                </a:lnTo>
                <a:lnTo>
                  <a:pt x="189" y="709"/>
                </a:lnTo>
                <a:lnTo>
                  <a:pt x="189" y="520"/>
                </a:lnTo>
                <a:lnTo>
                  <a:pt x="104" y="520"/>
                </a:lnTo>
                <a:lnTo>
                  <a:pt x="104" y="447"/>
                </a:lnTo>
                <a:lnTo>
                  <a:pt x="189" y="447"/>
                </a:lnTo>
                <a:lnTo>
                  <a:pt x="189" y="362"/>
                </a:lnTo>
                <a:lnTo>
                  <a:pt x="260" y="362"/>
                </a:lnTo>
                <a:lnTo>
                  <a:pt x="260" y="447"/>
                </a:lnTo>
                <a:lnTo>
                  <a:pt x="345" y="447"/>
                </a:lnTo>
                <a:lnTo>
                  <a:pt x="345" y="520"/>
                </a:lnTo>
                <a:lnTo>
                  <a:pt x="260" y="520"/>
                </a:lnTo>
                <a:lnTo>
                  <a:pt x="260" y="709"/>
                </a:lnTo>
                <a:lnTo>
                  <a:pt x="449" y="709"/>
                </a:lnTo>
                <a:lnTo>
                  <a:pt x="449" y="520"/>
                </a:lnTo>
                <a:lnTo>
                  <a:pt x="362" y="520"/>
                </a:lnTo>
                <a:lnTo>
                  <a:pt x="362" y="447"/>
                </a:lnTo>
                <a:lnTo>
                  <a:pt x="449" y="447"/>
                </a:lnTo>
                <a:lnTo>
                  <a:pt x="449" y="362"/>
                </a:lnTo>
                <a:lnTo>
                  <a:pt x="518" y="362"/>
                </a:lnTo>
                <a:lnTo>
                  <a:pt x="518" y="447"/>
                </a:lnTo>
                <a:lnTo>
                  <a:pt x="709" y="447"/>
                </a:lnTo>
                <a:lnTo>
                  <a:pt x="709" y="258"/>
                </a:lnTo>
                <a:lnTo>
                  <a:pt x="518" y="258"/>
                </a:lnTo>
                <a:close/>
                <a:moveTo>
                  <a:pt x="277" y="17"/>
                </a:moveTo>
                <a:lnTo>
                  <a:pt x="433" y="17"/>
                </a:lnTo>
                <a:lnTo>
                  <a:pt x="433" y="170"/>
                </a:lnTo>
                <a:lnTo>
                  <a:pt x="277" y="170"/>
                </a:lnTo>
                <a:lnTo>
                  <a:pt x="277" y="17"/>
                </a:lnTo>
                <a:close/>
                <a:moveTo>
                  <a:pt x="173" y="690"/>
                </a:moveTo>
                <a:lnTo>
                  <a:pt x="17" y="690"/>
                </a:lnTo>
                <a:lnTo>
                  <a:pt x="17" y="536"/>
                </a:lnTo>
                <a:lnTo>
                  <a:pt x="173" y="536"/>
                </a:lnTo>
                <a:lnTo>
                  <a:pt x="173" y="690"/>
                </a:lnTo>
                <a:close/>
                <a:moveTo>
                  <a:pt x="173" y="430"/>
                </a:moveTo>
                <a:lnTo>
                  <a:pt x="17" y="430"/>
                </a:lnTo>
                <a:lnTo>
                  <a:pt x="17" y="274"/>
                </a:lnTo>
                <a:lnTo>
                  <a:pt x="173" y="274"/>
                </a:lnTo>
                <a:lnTo>
                  <a:pt x="173" y="430"/>
                </a:lnTo>
                <a:close/>
                <a:moveTo>
                  <a:pt x="433" y="690"/>
                </a:moveTo>
                <a:lnTo>
                  <a:pt x="277" y="690"/>
                </a:lnTo>
                <a:lnTo>
                  <a:pt x="277" y="536"/>
                </a:lnTo>
                <a:lnTo>
                  <a:pt x="433" y="536"/>
                </a:lnTo>
                <a:lnTo>
                  <a:pt x="433" y="690"/>
                </a:lnTo>
                <a:close/>
                <a:moveTo>
                  <a:pt x="433" y="430"/>
                </a:moveTo>
                <a:lnTo>
                  <a:pt x="277" y="430"/>
                </a:lnTo>
                <a:lnTo>
                  <a:pt x="277" y="274"/>
                </a:lnTo>
                <a:lnTo>
                  <a:pt x="433" y="274"/>
                </a:lnTo>
                <a:lnTo>
                  <a:pt x="433" y="430"/>
                </a:lnTo>
                <a:close/>
                <a:moveTo>
                  <a:pt x="690" y="430"/>
                </a:moveTo>
                <a:lnTo>
                  <a:pt x="536" y="430"/>
                </a:lnTo>
                <a:lnTo>
                  <a:pt x="536" y="274"/>
                </a:lnTo>
                <a:lnTo>
                  <a:pt x="690" y="274"/>
                </a:lnTo>
                <a:lnTo>
                  <a:pt x="690" y="430"/>
                </a:ln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38778976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ppt_x"/>
                                          </p:val>
                                        </p:tav>
                                        <p:tav tm="100000">
                                          <p:val>
                                            <p:strVal val="#ppt_x"/>
                                          </p:val>
                                        </p:tav>
                                      </p:tavLst>
                                    </p:anim>
                                    <p:anim calcmode="lin" valueType="num">
                                      <p:cBhvr additive="base">
                                        <p:cTn id="8" dur="500" fill="hold"/>
                                        <p:tgtEl>
                                          <p:spTgt spid="7"/>
                                        </p:tgtEl>
                                        <p:attrNameLst>
                                          <p:attrName>ppt_y</p:attrName>
                                        </p:attrNameLst>
                                      </p:cBhvr>
                                      <p:tavLst>
                                        <p:tav tm="0">
                                          <p:val>
                                            <p:strVal val="1+#ppt_h/2"/>
                                          </p:val>
                                        </p:tav>
                                        <p:tav tm="100000">
                                          <p:val>
                                            <p:strVal val="#ppt_y"/>
                                          </p:val>
                                        </p:tav>
                                      </p:tavLst>
                                    </p:anim>
                                  </p:childTnLst>
                                </p:cTn>
                              </p:par>
                              <p:par>
                                <p:cTn id="9" presetID="2" presetClass="entr" presetSubtype="4" decel="100000" fill="hold" grpId="0" nodeType="withEffect">
                                  <p:stCondLst>
                                    <p:cond delay="250"/>
                                  </p:stCondLst>
                                  <p:childTnLst>
                                    <p:set>
                                      <p:cBhvr>
                                        <p:cTn id="10" dur="1" fill="hold">
                                          <p:stCondLst>
                                            <p:cond delay="0"/>
                                          </p:stCondLst>
                                        </p:cTn>
                                        <p:tgtEl>
                                          <p:spTgt spid="8"/>
                                        </p:tgtEl>
                                        <p:attrNameLst>
                                          <p:attrName>style.visibility</p:attrName>
                                        </p:attrNameLst>
                                      </p:cBhvr>
                                      <p:to>
                                        <p:strVal val="visible"/>
                                      </p:to>
                                    </p:set>
                                    <p:anim calcmode="lin" valueType="num">
                                      <p:cBhvr additive="base">
                                        <p:cTn id="11" dur="500" fill="hold"/>
                                        <p:tgtEl>
                                          <p:spTgt spid="8"/>
                                        </p:tgtEl>
                                        <p:attrNameLst>
                                          <p:attrName>ppt_x</p:attrName>
                                        </p:attrNameLst>
                                      </p:cBhvr>
                                      <p:tavLst>
                                        <p:tav tm="0">
                                          <p:val>
                                            <p:strVal val="#ppt_x"/>
                                          </p:val>
                                        </p:tav>
                                        <p:tav tm="100000">
                                          <p:val>
                                            <p:strVal val="#ppt_x"/>
                                          </p:val>
                                        </p:tav>
                                      </p:tavLst>
                                    </p:anim>
                                    <p:anim calcmode="lin" valueType="num">
                                      <p:cBhvr additive="base">
                                        <p:cTn id="12" dur="500" fill="hold"/>
                                        <p:tgtEl>
                                          <p:spTgt spid="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07907731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3635"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5" name="Title 4"/>
          <p:cNvSpPr>
            <a:spLocks noGrp="1"/>
          </p:cNvSpPr>
          <p:nvPr>
            <p:ph type="title"/>
            <p:custDataLst>
              <p:tags r:id="rId3"/>
            </p:custDataLst>
          </p:nvPr>
        </p:nvSpPr>
        <p:spPr/>
        <p:txBody>
          <a:bodyPr/>
          <a:lstStyle/>
          <a:p>
            <a:r>
              <a:rPr lang="en-US" smtClean="0"/>
              <a:t>Agenda </a:t>
            </a:r>
            <a:endParaRPr lang="en-US" dirty="0"/>
          </a:p>
        </p:txBody>
      </p:sp>
      <p:sp>
        <p:nvSpPr>
          <p:cNvPr id="6" name="Content Placeholder 5"/>
          <p:cNvSpPr>
            <a:spLocks noGrp="1"/>
          </p:cNvSpPr>
          <p:nvPr>
            <p:ph type="body" sz="quarter" idx="11"/>
            <p:custDataLst>
              <p:tags r:id="rId4"/>
            </p:custDataLst>
          </p:nvPr>
        </p:nvSpPr>
        <p:spPr>
          <a:xfrm>
            <a:off x="3473804" y="1828765"/>
            <a:ext cx="6945312" cy="4419671"/>
          </a:xfrm>
        </p:spPr>
        <p:txBody>
          <a:bodyPr/>
          <a:lstStyle/>
          <a:p>
            <a:r>
              <a:rPr lang="en-US" dirty="0" smtClean="0"/>
              <a:t>Why all the hype </a:t>
            </a:r>
            <a:br>
              <a:rPr lang="en-US" dirty="0" smtClean="0"/>
            </a:br>
            <a:r>
              <a:rPr lang="en-US" dirty="0" smtClean="0"/>
              <a:t>for Web APIs?</a:t>
            </a:r>
          </a:p>
          <a:p>
            <a:r>
              <a:rPr lang="en-US" dirty="0" smtClean="0"/>
              <a:t>Building Web APIs for browser/JSON clients</a:t>
            </a:r>
          </a:p>
          <a:p>
            <a:r>
              <a:rPr lang="en-US" dirty="0" smtClean="0"/>
              <a:t>Building Web APIs for native/non-browser clients</a:t>
            </a:r>
            <a:endParaRPr lang="en-US" dirty="0"/>
          </a:p>
        </p:txBody>
      </p:sp>
    </p:spTree>
    <p:extLst>
      <p:ext uri="{BB962C8B-B14F-4D97-AF65-F5344CB8AC3E}">
        <p14:creationId xmlns:p14="http://schemas.microsoft.com/office/powerpoint/2010/main" val="621077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51852079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8213"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8" name="Title 7"/>
          <p:cNvSpPr>
            <a:spLocks noGrp="1"/>
          </p:cNvSpPr>
          <p:nvPr>
            <p:ph type="ctrTitle"/>
          </p:nvPr>
        </p:nvSpPr>
        <p:spPr/>
        <p:txBody>
          <a:bodyPr/>
          <a:lstStyle/>
          <a:p>
            <a:r>
              <a:rPr lang="en-US" dirty="0" smtClean="0"/>
              <a:t>Configuring media type formatters</a:t>
            </a:r>
            <a:endParaRPr lang="en-US" dirty="0"/>
          </a:p>
        </p:txBody>
      </p:sp>
      <p:sp>
        <p:nvSpPr>
          <p:cNvPr id="9" name="Subtitle 8"/>
          <p:cNvSpPr>
            <a:spLocks noGrp="1"/>
          </p:cNvSpPr>
          <p:nvPr>
            <p:ph type="subTitle" idx="1"/>
          </p:nvPr>
        </p:nvSpPr>
        <p:spPr/>
        <p:txBody>
          <a:bodyPr/>
          <a:lstStyle/>
          <a:p>
            <a:r>
              <a:rPr lang="en-US" dirty="0" smtClean="0"/>
              <a:t>ODATA, JSON.NET, HAL</a:t>
            </a:r>
            <a:endParaRPr lang="en-US" dirty="0"/>
          </a:p>
        </p:txBody>
      </p:sp>
      <p:sp>
        <p:nvSpPr>
          <p:cNvPr id="11" name="Text Placeholder 10"/>
          <p:cNvSpPr>
            <a:spLocks noGrp="1"/>
          </p:cNvSpPr>
          <p:nvPr>
            <p:ph type="body" sz="quarter" idx="10"/>
          </p:nvPr>
        </p:nvSpPr>
        <p:spPr/>
        <p:txBody>
          <a:bodyPr/>
          <a:lstStyle/>
          <a:p>
            <a:r>
              <a:rPr lang="en-US" smtClean="0"/>
              <a:t>demo	</a:t>
            </a:r>
            <a:endParaRPr lang="en-US" dirty="0"/>
          </a:p>
        </p:txBody>
      </p:sp>
    </p:spTree>
    <p:extLst>
      <p:ext uri="{BB962C8B-B14F-4D97-AF65-F5344CB8AC3E}">
        <p14:creationId xmlns:p14="http://schemas.microsoft.com/office/powerpoint/2010/main" val="36346466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75268698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5382"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smtClean="0"/>
              <a:t>What We Learned</a:t>
            </a:r>
            <a:endParaRPr lang="en-US" dirty="0"/>
          </a:p>
        </p:txBody>
      </p:sp>
      <p:sp>
        <p:nvSpPr>
          <p:cNvPr id="7" name="Rectangle 6"/>
          <p:cNvSpPr/>
          <p:nvPr/>
        </p:nvSpPr>
        <p:spPr bwMode="auto">
          <a:xfrm>
            <a:off x="4763" y="1695451"/>
            <a:ext cx="11671300" cy="4572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548640" tIns="45718" rIns="91436" bIns="45718" numCol="1" rtlCol="0" anchor="ctr" anchorCtr="0" compatLnSpc="1">
            <a:prstTxWarp prst="textNoShape">
              <a:avLst/>
            </a:prstTxWarp>
          </a:bodyPr>
          <a:lstStyle/>
          <a:p>
            <a:pPr>
              <a:spcAft>
                <a:spcPts val="1200"/>
              </a:spcAft>
            </a:pPr>
            <a:r>
              <a:rPr lang="en-US" dirty="0">
                <a:gradFill>
                  <a:gsLst>
                    <a:gs pos="0">
                      <a:schemeClr val="bg1"/>
                    </a:gs>
                    <a:gs pos="100000">
                      <a:schemeClr val="bg1"/>
                    </a:gs>
                  </a:gsLst>
                  <a:lin ang="5400000" scaled="0"/>
                </a:gradFill>
              </a:rPr>
              <a:t>Why Web APIs are important</a:t>
            </a:r>
          </a:p>
        </p:txBody>
      </p:sp>
      <p:sp>
        <p:nvSpPr>
          <p:cNvPr id="8" name="Rectangle 7"/>
          <p:cNvSpPr/>
          <p:nvPr/>
        </p:nvSpPr>
        <p:spPr bwMode="auto">
          <a:xfrm>
            <a:off x="4763" y="2362894"/>
            <a:ext cx="11671300" cy="4572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548640" tIns="45718" rIns="91436" bIns="45718" numCol="1" rtlCol="0" anchor="ctr" anchorCtr="0" compatLnSpc="1">
            <a:prstTxWarp prst="textNoShape">
              <a:avLst/>
            </a:prstTxWarp>
          </a:bodyPr>
          <a:lstStyle/>
          <a:p>
            <a:pPr>
              <a:spcAft>
                <a:spcPts val="1200"/>
              </a:spcAft>
            </a:pPr>
            <a:r>
              <a:rPr lang="en-US" dirty="0">
                <a:gradFill>
                  <a:gsLst>
                    <a:gs pos="0">
                      <a:schemeClr val="bg1"/>
                    </a:gs>
                    <a:gs pos="100000">
                      <a:schemeClr val="bg1"/>
                    </a:gs>
                  </a:gsLst>
                  <a:lin ang="5400000" scaled="0"/>
                </a:gradFill>
              </a:rPr>
              <a:t>How to author Web APIs for multiple clients</a:t>
            </a:r>
          </a:p>
        </p:txBody>
      </p:sp>
      <p:sp>
        <p:nvSpPr>
          <p:cNvPr id="9" name="Rectangle 8"/>
          <p:cNvSpPr/>
          <p:nvPr/>
        </p:nvSpPr>
        <p:spPr bwMode="auto">
          <a:xfrm>
            <a:off x="4763" y="3030337"/>
            <a:ext cx="11671300" cy="4572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548640" tIns="45718" rIns="91436" bIns="45718" numCol="1" rtlCol="0" anchor="ctr" anchorCtr="0" compatLnSpc="1">
            <a:prstTxWarp prst="textNoShape">
              <a:avLst/>
            </a:prstTxWarp>
          </a:bodyPr>
          <a:lstStyle/>
          <a:p>
            <a:pPr>
              <a:spcAft>
                <a:spcPts val="1200"/>
              </a:spcAft>
            </a:pPr>
            <a:r>
              <a:rPr lang="en-US" dirty="0">
                <a:gradFill>
                  <a:gsLst>
                    <a:gs pos="0">
                      <a:schemeClr val="bg1"/>
                    </a:gs>
                    <a:gs pos="100000">
                      <a:schemeClr val="bg1"/>
                    </a:gs>
                  </a:gsLst>
                  <a:lin ang="5400000" scaled="0"/>
                </a:gradFill>
              </a:rPr>
              <a:t>How configure a Web API</a:t>
            </a:r>
          </a:p>
        </p:txBody>
      </p:sp>
      <p:sp>
        <p:nvSpPr>
          <p:cNvPr id="10" name="Rectangle 9"/>
          <p:cNvSpPr/>
          <p:nvPr/>
        </p:nvSpPr>
        <p:spPr bwMode="auto">
          <a:xfrm>
            <a:off x="4763" y="3697780"/>
            <a:ext cx="11671300" cy="4572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548640" tIns="45718" rIns="91436" bIns="45718" numCol="1" rtlCol="0" anchor="ctr" anchorCtr="0" compatLnSpc="1">
            <a:prstTxWarp prst="textNoShape">
              <a:avLst/>
            </a:prstTxWarp>
          </a:bodyPr>
          <a:lstStyle/>
          <a:p>
            <a:pPr>
              <a:spcAft>
                <a:spcPts val="1200"/>
              </a:spcAft>
            </a:pPr>
            <a:r>
              <a:rPr lang="en-US" dirty="0">
                <a:gradFill>
                  <a:gsLst>
                    <a:gs pos="0">
                      <a:schemeClr val="bg1"/>
                    </a:gs>
                    <a:gs pos="100000">
                      <a:schemeClr val="bg1"/>
                    </a:gs>
                  </a:gsLst>
                  <a:lin ang="5400000" scaled="0"/>
                </a:gradFill>
              </a:rPr>
              <a:t>Enabling HTML file upload</a:t>
            </a:r>
          </a:p>
        </p:txBody>
      </p:sp>
      <p:sp>
        <p:nvSpPr>
          <p:cNvPr id="11" name="Rectangle 10"/>
          <p:cNvSpPr/>
          <p:nvPr/>
        </p:nvSpPr>
        <p:spPr bwMode="auto">
          <a:xfrm>
            <a:off x="4763" y="4365223"/>
            <a:ext cx="11671300" cy="4572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548640" tIns="45718" rIns="91436" bIns="45718" numCol="1" rtlCol="0" anchor="ctr" anchorCtr="0" compatLnSpc="1">
            <a:prstTxWarp prst="textNoShape">
              <a:avLst/>
            </a:prstTxWarp>
          </a:bodyPr>
          <a:lstStyle/>
          <a:p>
            <a:pPr>
              <a:spcAft>
                <a:spcPts val="1200"/>
              </a:spcAft>
            </a:pPr>
            <a:r>
              <a:rPr lang="en-US" dirty="0">
                <a:gradFill>
                  <a:gsLst>
                    <a:gs pos="0">
                      <a:schemeClr val="bg1"/>
                    </a:gs>
                    <a:gs pos="100000">
                      <a:schemeClr val="bg1"/>
                    </a:gs>
                  </a:gsLst>
                  <a:lin ang="5400000" scaled="0"/>
                </a:gradFill>
              </a:rPr>
              <a:t>Enabling </a:t>
            </a:r>
            <a:r>
              <a:rPr lang="en-US" dirty="0" err="1">
                <a:gradFill>
                  <a:gsLst>
                    <a:gs pos="0">
                      <a:schemeClr val="bg1"/>
                    </a:gs>
                    <a:gs pos="100000">
                      <a:schemeClr val="bg1"/>
                    </a:gs>
                  </a:gsLst>
                  <a:lin ang="5400000" scaled="0"/>
                </a:gradFill>
              </a:rPr>
              <a:t>OData</a:t>
            </a:r>
            <a:r>
              <a:rPr lang="en-US" dirty="0">
                <a:gradFill>
                  <a:gsLst>
                    <a:gs pos="0">
                      <a:schemeClr val="bg1"/>
                    </a:gs>
                    <a:gs pos="100000">
                      <a:schemeClr val="bg1"/>
                    </a:gs>
                  </a:gsLst>
                  <a:lin ang="5400000" scaled="0"/>
                </a:gradFill>
              </a:rPr>
              <a:t> and custom formats</a:t>
            </a:r>
          </a:p>
        </p:txBody>
      </p:sp>
      <p:sp>
        <p:nvSpPr>
          <p:cNvPr id="12" name="Rectangle 11"/>
          <p:cNvSpPr/>
          <p:nvPr/>
        </p:nvSpPr>
        <p:spPr bwMode="auto">
          <a:xfrm>
            <a:off x="4763" y="5032665"/>
            <a:ext cx="11671300" cy="4572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548640" tIns="45718" rIns="91436" bIns="45718" numCol="1" rtlCol="0" anchor="ctr" anchorCtr="0" compatLnSpc="1">
            <a:prstTxWarp prst="textNoShape">
              <a:avLst/>
            </a:prstTxWarp>
          </a:bodyPr>
          <a:lstStyle/>
          <a:p>
            <a:pPr>
              <a:spcAft>
                <a:spcPts val="1200"/>
              </a:spcAft>
            </a:pPr>
            <a:r>
              <a:rPr lang="en-US" dirty="0">
                <a:gradFill>
                  <a:gsLst>
                    <a:gs pos="0">
                      <a:schemeClr val="bg1"/>
                    </a:gs>
                    <a:gs pos="100000">
                      <a:schemeClr val="bg1"/>
                    </a:gs>
                  </a:gsLst>
                  <a:lin ang="5400000" scaled="0"/>
                </a:gradFill>
              </a:rPr>
              <a:t>Using the Web API test client</a:t>
            </a:r>
          </a:p>
        </p:txBody>
      </p:sp>
    </p:spTree>
    <p:extLst>
      <p:ext uri="{BB962C8B-B14F-4D97-AF65-F5344CB8AC3E}">
        <p14:creationId xmlns:p14="http://schemas.microsoft.com/office/powerpoint/2010/main" val="1638551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0-#ppt_w/2"/>
                                          </p:val>
                                        </p:tav>
                                        <p:tav tm="100000">
                                          <p:val>
                                            <p:strVal val="#ppt_x"/>
                                          </p:val>
                                        </p:tav>
                                      </p:tavLst>
                                    </p:anim>
                                    <p:anim calcmode="lin" valueType="num">
                                      <p:cBhvr additive="base">
                                        <p:cTn id="8" dur="500" fill="hold"/>
                                        <p:tgtEl>
                                          <p:spTgt spid="7"/>
                                        </p:tgtEl>
                                        <p:attrNameLst>
                                          <p:attrName>ppt_y</p:attrName>
                                        </p:attrNameLst>
                                      </p:cBhvr>
                                      <p:tavLst>
                                        <p:tav tm="0">
                                          <p:val>
                                            <p:strVal val="#ppt_y"/>
                                          </p:val>
                                        </p:tav>
                                        <p:tav tm="100000">
                                          <p:val>
                                            <p:strVal val="#ppt_y"/>
                                          </p:val>
                                        </p:tav>
                                      </p:tavLst>
                                    </p:anim>
                                  </p:childTnLst>
                                </p:cTn>
                              </p:par>
                              <p:par>
                                <p:cTn id="9" presetID="2" presetClass="entr" presetSubtype="8" decel="100000" fill="hold" grpId="0" nodeType="withEffect">
                                  <p:stCondLst>
                                    <p:cond delay="250"/>
                                  </p:stCondLst>
                                  <p:childTnLst>
                                    <p:set>
                                      <p:cBhvr>
                                        <p:cTn id="10" dur="1" fill="hold">
                                          <p:stCondLst>
                                            <p:cond delay="0"/>
                                          </p:stCondLst>
                                        </p:cTn>
                                        <p:tgtEl>
                                          <p:spTgt spid="8"/>
                                        </p:tgtEl>
                                        <p:attrNameLst>
                                          <p:attrName>style.visibility</p:attrName>
                                        </p:attrNameLst>
                                      </p:cBhvr>
                                      <p:to>
                                        <p:strVal val="visible"/>
                                      </p:to>
                                    </p:set>
                                    <p:anim calcmode="lin" valueType="num">
                                      <p:cBhvr additive="base">
                                        <p:cTn id="11" dur="500" fill="hold"/>
                                        <p:tgtEl>
                                          <p:spTgt spid="8"/>
                                        </p:tgtEl>
                                        <p:attrNameLst>
                                          <p:attrName>ppt_x</p:attrName>
                                        </p:attrNameLst>
                                      </p:cBhvr>
                                      <p:tavLst>
                                        <p:tav tm="0">
                                          <p:val>
                                            <p:strVal val="0-#ppt_w/2"/>
                                          </p:val>
                                        </p:tav>
                                        <p:tav tm="100000">
                                          <p:val>
                                            <p:strVal val="#ppt_x"/>
                                          </p:val>
                                        </p:tav>
                                      </p:tavLst>
                                    </p:anim>
                                    <p:anim calcmode="lin" valueType="num">
                                      <p:cBhvr additive="base">
                                        <p:cTn id="12" dur="500" fill="hold"/>
                                        <p:tgtEl>
                                          <p:spTgt spid="8"/>
                                        </p:tgtEl>
                                        <p:attrNameLst>
                                          <p:attrName>ppt_y</p:attrName>
                                        </p:attrNameLst>
                                      </p:cBhvr>
                                      <p:tavLst>
                                        <p:tav tm="0">
                                          <p:val>
                                            <p:strVal val="#ppt_y"/>
                                          </p:val>
                                        </p:tav>
                                        <p:tav tm="100000">
                                          <p:val>
                                            <p:strVal val="#ppt_y"/>
                                          </p:val>
                                        </p:tav>
                                      </p:tavLst>
                                    </p:anim>
                                  </p:childTnLst>
                                </p:cTn>
                              </p:par>
                              <p:par>
                                <p:cTn id="13" presetID="2" presetClass="entr" presetSubtype="8" decel="100000" fill="hold" grpId="0" nodeType="withEffect">
                                  <p:stCondLst>
                                    <p:cond delay="500"/>
                                  </p:stCondLst>
                                  <p:childTnLst>
                                    <p:set>
                                      <p:cBhvr>
                                        <p:cTn id="14" dur="1" fill="hold">
                                          <p:stCondLst>
                                            <p:cond delay="0"/>
                                          </p:stCondLst>
                                        </p:cTn>
                                        <p:tgtEl>
                                          <p:spTgt spid="9"/>
                                        </p:tgtEl>
                                        <p:attrNameLst>
                                          <p:attrName>style.visibility</p:attrName>
                                        </p:attrNameLst>
                                      </p:cBhvr>
                                      <p:to>
                                        <p:strVal val="visible"/>
                                      </p:to>
                                    </p:set>
                                    <p:anim calcmode="lin" valueType="num">
                                      <p:cBhvr additive="base">
                                        <p:cTn id="15" dur="500" fill="hold"/>
                                        <p:tgtEl>
                                          <p:spTgt spid="9"/>
                                        </p:tgtEl>
                                        <p:attrNameLst>
                                          <p:attrName>ppt_x</p:attrName>
                                        </p:attrNameLst>
                                      </p:cBhvr>
                                      <p:tavLst>
                                        <p:tav tm="0">
                                          <p:val>
                                            <p:strVal val="0-#ppt_w/2"/>
                                          </p:val>
                                        </p:tav>
                                        <p:tav tm="100000">
                                          <p:val>
                                            <p:strVal val="#ppt_x"/>
                                          </p:val>
                                        </p:tav>
                                      </p:tavLst>
                                    </p:anim>
                                    <p:anim calcmode="lin" valueType="num">
                                      <p:cBhvr additive="base">
                                        <p:cTn id="16" dur="500" fill="hold"/>
                                        <p:tgtEl>
                                          <p:spTgt spid="9"/>
                                        </p:tgtEl>
                                        <p:attrNameLst>
                                          <p:attrName>ppt_y</p:attrName>
                                        </p:attrNameLst>
                                      </p:cBhvr>
                                      <p:tavLst>
                                        <p:tav tm="0">
                                          <p:val>
                                            <p:strVal val="#ppt_y"/>
                                          </p:val>
                                        </p:tav>
                                        <p:tav tm="100000">
                                          <p:val>
                                            <p:strVal val="#ppt_y"/>
                                          </p:val>
                                        </p:tav>
                                      </p:tavLst>
                                    </p:anim>
                                  </p:childTnLst>
                                </p:cTn>
                              </p:par>
                              <p:par>
                                <p:cTn id="17" presetID="2" presetClass="entr" presetSubtype="8" decel="100000" fill="hold" grpId="0" nodeType="withEffect">
                                  <p:stCondLst>
                                    <p:cond delay="750"/>
                                  </p:stCondLst>
                                  <p:childTnLst>
                                    <p:set>
                                      <p:cBhvr>
                                        <p:cTn id="18" dur="1" fill="hold">
                                          <p:stCondLst>
                                            <p:cond delay="0"/>
                                          </p:stCondLst>
                                        </p:cTn>
                                        <p:tgtEl>
                                          <p:spTgt spid="10"/>
                                        </p:tgtEl>
                                        <p:attrNameLst>
                                          <p:attrName>style.visibility</p:attrName>
                                        </p:attrNameLst>
                                      </p:cBhvr>
                                      <p:to>
                                        <p:strVal val="visible"/>
                                      </p:to>
                                    </p:set>
                                    <p:anim calcmode="lin" valueType="num">
                                      <p:cBhvr additive="base">
                                        <p:cTn id="19" dur="500" fill="hold"/>
                                        <p:tgtEl>
                                          <p:spTgt spid="10"/>
                                        </p:tgtEl>
                                        <p:attrNameLst>
                                          <p:attrName>ppt_x</p:attrName>
                                        </p:attrNameLst>
                                      </p:cBhvr>
                                      <p:tavLst>
                                        <p:tav tm="0">
                                          <p:val>
                                            <p:strVal val="0-#ppt_w/2"/>
                                          </p:val>
                                        </p:tav>
                                        <p:tav tm="100000">
                                          <p:val>
                                            <p:strVal val="#ppt_x"/>
                                          </p:val>
                                        </p:tav>
                                      </p:tavLst>
                                    </p:anim>
                                    <p:anim calcmode="lin" valueType="num">
                                      <p:cBhvr additive="base">
                                        <p:cTn id="20" dur="500" fill="hold"/>
                                        <p:tgtEl>
                                          <p:spTgt spid="10"/>
                                        </p:tgtEl>
                                        <p:attrNameLst>
                                          <p:attrName>ppt_y</p:attrName>
                                        </p:attrNameLst>
                                      </p:cBhvr>
                                      <p:tavLst>
                                        <p:tav tm="0">
                                          <p:val>
                                            <p:strVal val="#ppt_y"/>
                                          </p:val>
                                        </p:tav>
                                        <p:tav tm="100000">
                                          <p:val>
                                            <p:strVal val="#ppt_y"/>
                                          </p:val>
                                        </p:tav>
                                      </p:tavLst>
                                    </p:anim>
                                  </p:childTnLst>
                                </p:cTn>
                              </p:par>
                              <p:par>
                                <p:cTn id="21" presetID="2" presetClass="entr" presetSubtype="8" decel="100000" fill="hold" grpId="0" nodeType="withEffect">
                                  <p:stCondLst>
                                    <p:cond delay="1000"/>
                                  </p:stCondLst>
                                  <p:childTnLst>
                                    <p:set>
                                      <p:cBhvr>
                                        <p:cTn id="22" dur="1" fill="hold">
                                          <p:stCondLst>
                                            <p:cond delay="0"/>
                                          </p:stCondLst>
                                        </p:cTn>
                                        <p:tgtEl>
                                          <p:spTgt spid="11"/>
                                        </p:tgtEl>
                                        <p:attrNameLst>
                                          <p:attrName>style.visibility</p:attrName>
                                        </p:attrNameLst>
                                      </p:cBhvr>
                                      <p:to>
                                        <p:strVal val="visible"/>
                                      </p:to>
                                    </p:set>
                                    <p:anim calcmode="lin" valueType="num">
                                      <p:cBhvr additive="base">
                                        <p:cTn id="23" dur="500" fill="hold"/>
                                        <p:tgtEl>
                                          <p:spTgt spid="11"/>
                                        </p:tgtEl>
                                        <p:attrNameLst>
                                          <p:attrName>ppt_x</p:attrName>
                                        </p:attrNameLst>
                                      </p:cBhvr>
                                      <p:tavLst>
                                        <p:tav tm="0">
                                          <p:val>
                                            <p:strVal val="0-#ppt_w/2"/>
                                          </p:val>
                                        </p:tav>
                                        <p:tav tm="100000">
                                          <p:val>
                                            <p:strVal val="#ppt_x"/>
                                          </p:val>
                                        </p:tav>
                                      </p:tavLst>
                                    </p:anim>
                                    <p:anim calcmode="lin" valueType="num">
                                      <p:cBhvr additive="base">
                                        <p:cTn id="24" dur="500" fill="hold"/>
                                        <p:tgtEl>
                                          <p:spTgt spid="11"/>
                                        </p:tgtEl>
                                        <p:attrNameLst>
                                          <p:attrName>ppt_y</p:attrName>
                                        </p:attrNameLst>
                                      </p:cBhvr>
                                      <p:tavLst>
                                        <p:tav tm="0">
                                          <p:val>
                                            <p:strVal val="#ppt_y"/>
                                          </p:val>
                                        </p:tav>
                                        <p:tav tm="100000">
                                          <p:val>
                                            <p:strVal val="#ppt_y"/>
                                          </p:val>
                                        </p:tav>
                                      </p:tavLst>
                                    </p:anim>
                                  </p:childTnLst>
                                </p:cTn>
                              </p:par>
                              <p:par>
                                <p:cTn id="25" presetID="2" presetClass="entr" presetSubtype="8" decel="100000" fill="hold" grpId="0" nodeType="withEffect">
                                  <p:stCondLst>
                                    <p:cond delay="1250"/>
                                  </p:stCondLst>
                                  <p:childTnLst>
                                    <p:set>
                                      <p:cBhvr>
                                        <p:cTn id="26" dur="1" fill="hold">
                                          <p:stCondLst>
                                            <p:cond delay="0"/>
                                          </p:stCondLst>
                                        </p:cTn>
                                        <p:tgtEl>
                                          <p:spTgt spid="12"/>
                                        </p:tgtEl>
                                        <p:attrNameLst>
                                          <p:attrName>style.visibility</p:attrName>
                                        </p:attrNameLst>
                                      </p:cBhvr>
                                      <p:to>
                                        <p:strVal val="visible"/>
                                      </p:to>
                                    </p:set>
                                    <p:anim calcmode="lin" valueType="num">
                                      <p:cBhvr additive="base">
                                        <p:cTn id="27" dur="500" fill="hold"/>
                                        <p:tgtEl>
                                          <p:spTgt spid="12"/>
                                        </p:tgtEl>
                                        <p:attrNameLst>
                                          <p:attrName>ppt_x</p:attrName>
                                        </p:attrNameLst>
                                      </p:cBhvr>
                                      <p:tavLst>
                                        <p:tav tm="0">
                                          <p:val>
                                            <p:strVal val="0-#ppt_w/2"/>
                                          </p:val>
                                        </p:tav>
                                        <p:tav tm="100000">
                                          <p:val>
                                            <p:strVal val="#ppt_x"/>
                                          </p:val>
                                        </p:tav>
                                      </p:tavLst>
                                    </p:anim>
                                    <p:anim calcmode="lin" valueType="num">
                                      <p:cBhvr additive="base">
                                        <p:cTn id="28" dur="500" fill="hold"/>
                                        <p:tgtEl>
                                          <p:spTgt spid="1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9" grpId="0" animBg="1"/>
      <p:bldP spid="10" grpId="0" animBg="1"/>
      <p:bldP spid="11" grpId="0" animBg="1"/>
      <p:bldP spid="12" grpId="0" animBg="1"/>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37878290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135"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0" y="0"/>
                        <a:ext cx="158750" cy="158750"/>
                      </a:xfrm>
                      <a:prstGeom prst="rect">
                        <a:avLst/>
                      </a:prstGeom>
                    </p:spPr>
                  </p:pic>
                </p:oleObj>
              </mc:Fallback>
            </mc:AlternateContent>
          </a:graphicData>
        </a:graphic>
      </p:graphicFrame>
      <p:sp>
        <p:nvSpPr>
          <p:cNvPr id="11" name="Content Placeholder 3"/>
          <p:cNvSpPr txBox="1">
            <a:spLocks/>
          </p:cNvSpPr>
          <p:nvPr>
            <p:custDataLst>
              <p:tags r:id="rId3"/>
            </p:custDataLst>
          </p:nvPr>
        </p:nvSpPr>
        <p:spPr>
          <a:xfrm>
            <a:off x="509454" y="1411032"/>
            <a:ext cx="11060656" cy="4754880"/>
          </a:xfrm>
          <a:prstGeom prst="rect">
            <a:avLst/>
          </a:prstGeom>
          <a:solidFill>
            <a:schemeClr val="bg1">
              <a:lumMod val="95000"/>
            </a:schemeClr>
          </a:solidFill>
        </p:spPr>
        <p:txBody>
          <a:bodyPr lIns="91440" tIns="640080">
            <a:noAutofit/>
          </a:bodyPr>
          <a:lstStyle>
            <a:lvl1pPr marL="347663" indent="-347663" algn="l" defTabSz="914363" rtl="0" eaLnBrk="1" latinLnBrk="0" hangingPunct="1">
              <a:lnSpc>
                <a:spcPct val="100000"/>
              </a:lnSpc>
              <a:spcBef>
                <a:spcPts val="1200"/>
              </a:spcBef>
              <a:spcAft>
                <a:spcPts val="0"/>
              </a:spcAft>
              <a:buSzPct val="80000"/>
              <a:buFont typeface="Arial" pitchFamily="34" charset="0"/>
              <a:buChar char="•"/>
              <a:defRPr sz="3200" kern="1200">
                <a:ln>
                  <a:solidFill>
                    <a:schemeClr val="bg1">
                      <a:alpha val="0"/>
                    </a:schemeClr>
                  </a:solidFill>
                </a:ln>
                <a:solidFill>
                  <a:srgbClr val="595959"/>
                </a:solidFill>
                <a:latin typeface="+mn-lt"/>
                <a:ea typeface="+mn-ea"/>
                <a:cs typeface="+mn-cs"/>
              </a:defRPr>
            </a:lvl1pPr>
            <a:lvl2pPr marL="804863" indent="-344488" algn="l" defTabSz="914363" rtl="0" eaLnBrk="1" latinLnBrk="0" hangingPunct="1">
              <a:lnSpc>
                <a:spcPct val="100000"/>
              </a:lnSpc>
              <a:spcBef>
                <a:spcPts val="600"/>
              </a:spcBef>
              <a:spcAft>
                <a:spcPts val="0"/>
              </a:spcAft>
              <a:buSzPct val="80000"/>
              <a:buFont typeface="Arial" pitchFamily="34" charset="0"/>
              <a:buChar char="•"/>
              <a:defRPr sz="2800" kern="1200">
                <a:ln>
                  <a:solidFill>
                    <a:schemeClr val="bg1">
                      <a:alpha val="0"/>
                    </a:schemeClr>
                  </a:solidFill>
                </a:ln>
                <a:solidFill>
                  <a:srgbClr val="595959"/>
                </a:solidFill>
                <a:latin typeface="+mn-lt"/>
                <a:ea typeface="+mn-ea"/>
                <a:cs typeface="+mn-cs"/>
              </a:defRPr>
            </a:lvl2pPr>
            <a:lvl3pPr marL="1258888" indent="-344488" algn="l" defTabSz="914363" rtl="0" eaLnBrk="1" latinLnBrk="0" hangingPunct="1">
              <a:lnSpc>
                <a:spcPct val="100000"/>
              </a:lnSpc>
              <a:spcBef>
                <a:spcPts val="300"/>
              </a:spcBef>
              <a:spcAft>
                <a:spcPts val="0"/>
              </a:spcAft>
              <a:buSzPct val="80000"/>
              <a:buFont typeface="Arial" pitchFamily="34" charset="0"/>
              <a:buChar char="•"/>
              <a:defRPr sz="2400" kern="1200">
                <a:ln>
                  <a:solidFill>
                    <a:schemeClr val="bg1">
                      <a:alpha val="0"/>
                    </a:schemeClr>
                  </a:solidFill>
                </a:ln>
                <a:solidFill>
                  <a:srgbClr val="595959"/>
                </a:solidFill>
                <a:latin typeface="+mn-lt"/>
                <a:ea typeface="+mn-ea"/>
                <a:cs typeface="+mn-cs"/>
              </a:defRPr>
            </a:lvl3pPr>
            <a:lvl4pPr marL="1716088" indent="-346075" algn="l" defTabSz="914363" rtl="0" eaLnBrk="1" latinLnBrk="0" hangingPunct="1">
              <a:lnSpc>
                <a:spcPct val="100000"/>
              </a:lnSpc>
              <a:spcBef>
                <a:spcPts val="300"/>
              </a:spcBef>
              <a:spcAft>
                <a:spcPts val="0"/>
              </a:spcAft>
              <a:buSzPct val="80000"/>
              <a:buFont typeface="Arial" pitchFamily="34" charset="0"/>
              <a:buChar char="•"/>
              <a:defRPr sz="2000" kern="1200">
                <a:ln>
                  <a:solidFill>
                    <a:schemeClr val="bg1">
                      <a:alpha val="0"/>
                    </a:schemeClr>
                  </a:solidFill>
                </a:ln>
                <a:solidFill>
                  <a:srgbClr val="595959"/>
                </a:solidFill>
                <a:latin typeface="+mn-lt"/>
                <a:ea typeface="+mn-ea"/>
                <a:cs typeface="+mn-cs"/>
              </a:defRPr>
            </a:lvl4pPr>
            <a:lvl5pPr marL="2176463" indent="-347663" algn="l" defTabSz="914363" rtl="0" eaLnBrk="1" latinLnBrk="0" hangingPunct="1">
              <a:lnSpc>
                <a:spcPct val="100000"/>
              </a:lnSpc>
              <a:spcBef>
                <a:spcPts val="300"/>
              </a:spcBef>
              <a:spcAft>
                <a:spcPts val="0"/>
              </a:spcAft>
              <a:buSzPct val="80000"/>
              <a:buFont typeface="Arial" pitchFamily="34" charset="0"/>
              <a:buChar char="•"/>
              <a:defRPr sz="2000" kern="1200">
                <a:ln>
                  <a:solidFill>
                    <a:schemeClr val="bg1">
                      <a:alpha val="0"/>
                    </a:schemeClr>
                  </a:solidFill>
                </a:ln>
                <a:solidFill>
                  <a:srgbClr val="595959"/>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000" dirty="0" smtClean="0">
                <a:hlinkClick r:id="rId10"/>
              </a:rPr>
              <a:t>http</a:t>
            </a:r>
            <a:r>
              <a:rPr lang="en-US" sz="2000" dirty="0">
                <a:hlinkClick r:id="rId10"/>
              </a:rPr>
              <a:t>://</a:t>
            </a:r>
            <a:r>
              <a:rPr lang="en-US" sz="2000" dirty="0" smtClean="0">
                <a:hlinkClick r:id="rId10"/>
              </a:rPr>
              <a:t>www.asp.net/web-api</a:t>
            </a:r>
            <a:endParaRPr lang="en-US" sz="2000" dirty="0" smtClean="0"/>
          </a:p>
          <a:p>
            <a:pPr marL="0" indent="0">
              <a:buNone/>
            </a:pPr>
            <a:r>
              <a:rPr lang="en-US" sz="2000" dirty="0" smtClean="0">
                <a:hlinkClick r:id="rId11"/>
              </a:rPr>
              <a:t>http://channel9.msdn.com/Shows/Web+Camps+TV/Dan-Roth-on-the-new-ASPNET-Web-API</a:t>
            </a:r>
            <a:endParaRPr lang="en-US" sz="2000" dirty="0" smtClean="0"/>
          </a:p>
          <a:p>
            <a:pPr marL="0" indent="0">
              <a:buNone/>
            </a:pPr>
            <a:r>
              <a:rPr lang="en-US" sz="2000" dirty="0">
                <a:hlinkClick r:id="rId12"/>
              </a:rPr>
              <a:t>http://</a:t>
            </a:r>
            <a:r>
              <a:rPr lang="en-US" sz="2000" dirty="0" smtClean="0">
                <a:hlinkClick r:id="rId12"/>
              </a:rPr>
              <a:t>blogs.msdn.com/b/henrikn/archive/2012/02/19/using-web-api-with-mongodb.aspx</a:t>
            </a:r>
            <a:endParaRPr lang="en-US" sz="2000" dirty="0" smtClean="0"/>
          </a:p>
          <a:p>
            <a:pPr marL="0" indent="0">
              <a:buNone/>
            </a:pPr>
            <a:endParaRPr lang="en-US" sz="2000" dirty="0"/>
          </a:p>
        </p:txBody>
      </p:sp>
      <p:sp>
        <p:nvSpPr>
          <p:cNvPr id="8" name="Rectangle 7"/>
          <p:cNvSpPr/>
          <p:nvPr>
            <p:custDataLst>
              <p:tags r:id="rId4"/>
            </p:custDataLst>
          </p:nvPr>
        </p:nvSpPr>
        <p:spPr bwMode="auto">
          <a:xfrm>
            <a:off x="509454" y="1411032"/>
            <a:ext cx="11060656" cy="584771"/>
          </a:xfrm>
          <a:prstGeom prst="rect">
            <a:avLst/>
          </a:prstGeom>
          <a:solidFill>
            <a:schemeClr val="accent1"/>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91436" tIns="45718" rIns="91436" bIns="45718" numCol="1" rtlCol="0" anchor="b" anchorCtr="0" compatLnSpc="1">
            <a:prstTxWarp prst="textNoShape">
              <a:avLst/>
            </a:prstTxWarp>
            <a:noAutofit/>
          </a:bodyPr>
          <a:lstStyle/>
          <a:p>
            <a:pPr algn="ctr" defTabSz="914363" fontAlgn="base">
              <a:spcBef>
                <a:spcPts val="1200"/>
              </a:spcBef>
              <a:buSzPct val="80000"/>
            </a:pPr>
            <a:r>
              <a:rPr lang="en-US" sz="3200" dirty="0" smtClean="0">
                <a:ln>
                  <a:solidFill>
                    <a:schemeClr val="bg1">
                      <a:alpha val="0"/>
                    </a:schemeClr>
                  </a:solidFill>
                </a:ln>
                <a:solidFill>
                  <a:schemeClr val="bg1"/>
                </a:solidFill>
              </a:rPr>
              <a:t>Documentation &amp; Articles</a:t>
            </a:r>
            <a:endParaRPr lang="en-US" sz="3200" dirty="0">
              <a:ln>
                <a:solidFill>
                  <a:schemeClr val="bg1">
                    <a:alpha val="0"/>
                  </a:schemeClr>
                </a:solidFill>
              </a:ln>
              <a:solidFill>
                <a:schemeClr val="bg1"/>
              </a:solidFill>
            </a:endParaRPr>
          </a:p>
        </p:txBody>
      </p:sp>
      <p:sp>
        <p:nvSpPr>
          <p:cNvPr id="2" name="Title 1"/>
          <p:cNvSpPr>
            <a:spLocks noGrp="1"/>
          </p:cNvSpPr>
          <p:nvPr>
            <p:ph type="title"/>
            <p:custDataLst>
              <p:tags r:id="rId5"/>
            </p:custDataLst>
          </p:nvPr>
        </p:nvSpPr>
        <p:spPr/>
        <p:txBody>
          <a:bodyPr/>
          <a:lstStyle/>
          <a:p>
            <a:r>
              <a:rPr lang="en-US" smtClean="0"/>
              <a:t>For More Information</a:t>
            </a:r>
            <a:endParaRPr lang="en-US" dirty="0"/>
          </a:p>
        </p:txBody>
      </p:sp>
    </p:spTree>
    <p:extLst>
      <p:ext uri="{BB962C8B-B14F-4D97-AF65-F5344CB8AC3E}">
        <p14:creationId xmlns:p14="http://schemas.microsoft.com/office/powerpoint/2010/main" val="3072064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2126522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7429"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5" name="Title 4"/>
          <p:cNvSpPr>
            <a:spLocks noGrp="1"/>
          </p:cNvSpPr>
          <p:nvPr>
            <p:ph type="title"/>
          </p:nvPr>
        </p:nvSpPr>
        <p:spPr/>
        <p:txBody>
          <a:bodyPr/>
          <a:lstStyle/>
          <a:p>
            <a:r>
              <a:rPr lang="en-US" smtClean="0"/>
              <a:t>Resources</a:t>
            </a:r>
            <a:endParaRPr lang="en-US" dirty="0"/>
          </a:p>
        </p:txBody>
      </p:sp>
      <p:sp>
        <p:nvSpPr>
          <p:cNvPr id="3" name="Text Placeholder 2"/>
          <p:cNvSpPr>
            <a:spLocks noGrp="1"/>
          </p:cNvSpPr>
          <p:nvPr>
            <p:ph type="body" sz="quarter" idx="10"/>
            <p:custDataLst>
              <p:tags r:id="rId3"/>
            </p:custDataLst>
          </p:nvPr>
        </p:nvSpPr>
        <p:spPr>
          <a:xfrm>
            <a:off x="519112" y="1141413"/>
            <a:ext cx="11149013" cy="2480679"/>
          </a:xfrm>
        </p:spPr>
        <p:txBody>
          <a:bodyPr/>
          <a:lstStyle/>
          <a:p>
            <a:pPr>
              <a:spcAft>
                <a:spcPts val="1200"/>
              </a:spcAft>
            </a:pPr>
            <a:r>
              <a:rPr lang="en-US" sz="4800" dirty="0">
                <a:ln w="3175">
                  <a:noFill/>
                </a:ln>
                <a:gradFill flip="none" rotWithShape="1">
                  <a:gsLst>
                    <a:gs pos="0">
                      <a:srgbClr val="595959"/>
                    </a:gs>
                    <a:gs pos="86000">
                      <a:srgbClr val="595959"/>
                    </a:gs>
                  </a:gsLst>
                  <a:lin ang="5400000" scaled="0"/>
                  <a:tileRect/>
                </a:gradFill>
                <a:cs typeface="Arial" charset="0"/>
              </a:rPr>
              <a:t>Feedback and questions </a:t>
            </a:r>
            <a:r>
              <a:rPr lang="en-US" sz="4400" dirty="0" smtClean="0"/>
              <a:t/>
            </a:r>
            <a:br>
              <a:rPr lang="en-US" sz="4400" dirty="0" smtClean="0"/>
            </a:br>
            <a:r>
              <a:rPr lang="en-US" sz="3600" dirty="0" smtClean="0">
                <a:latin typeface="+mn-lt"/>
                <a:hlinkClick r:id="rId8"/>
              </a:rPr>
              <a:t>http://forums.dev.windows.com</a:t>
            </a:r>
            <a:r>
              <a:rPr lang="en-US" sz="3600" dirty="0" smtClean="0">
                <a:latin typeface="+mn-lt"/>
              </a:rPr>
              <a:t> </a:t>
            </a:r>
            <a:endParaRPr lang="en-US" sz="4400" dirty="0"/>
          </a:p>
          <a:p>
            <a:pPr>
              <a:spcAft>
                <a:spcPts val="1200"/>
              </a:spcAft>
            </a:pPr>
            <a:r>
              <a:rPr lang="en-US" sz="4800" dirty="0">
                <a:ln w="3175">
                  <a:noFill/>
                </a:ln>
                <a:gradFill flip="none" rotWithShape="1">
                  <a:gsLst>
                    <a:gs pos="0">
                      <a:srgbClr val="595959"/>
                    </a:gs>
                    <a:gs pos="86000">
                      <a:srgbClr val="595959"/>
                    </a:gs>
                  </a:gsLst>
                  <a:lin ang="5400000" scaled="0"/>
                  <a:tileRect/>
                </a:gradFill>
                <a:cs typeface="Arial" charset="0"/>
              </a:rPr>
              <a:t>Session feedback</a:t>
            </a:r>
            <a:r>
              <a:rPr lang="en-US" sz="4400" dirty="0" smtClean="0"/>
              <a:t/>
            </a:r>
            <a:br>
              <a:rPr lang="en-US" sz="4400" dirty="0" smtClean="0"/>
            </a:br>
            <a:r>
              <a:rPr lang="en-US" sz="3600" dirty="0" smtClean="0">
                <a:latin typeface="+mn-lt"/>
                <a:hlinkClick r:id="rId9"/>
              </a:rPr>
              <a:t>http://bldw.in/SessionFeedback</a:t>
            </a:r>
            <a:r>
              <a:rPr lang="en-US" sz="3600" dirty="0" smtClean="0">
                <a:latin typeface="+mn-lt"/>
              </a:rPr>
              <a:t> </a:t>
            </a:r>
            <a:endParaRPr lang="en-US" sz="3600" dirty="0">
              <a:latin typeface="+mn-lt"/>
            </a:endParaRPr>
          </a:p>
        </p:txBody>
      </p:sp>
      <p:sp>
        <p:nvSpPr>
          <p:cNvPr id="8" name="Freeform 58"/>
          <p:cNvSpPr>
            <a:spLocks noEditPoints="1"/>
          </p:cNvSpPr>
          <p:nvPr/>
        </p:nvSpPr>
        <p:spPr bwMode="black">
          <a:xfrm>
            <a:off x="7196409" y="1141413"/>
            <a:ext cx="3689695" cy="3954680"/>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chemeClr val="tx1">
              <a:lumMod val="10000"/>
              <a:lumOff val="90000"/>
            </a:schemeClr>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26875246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85946123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8450"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Tree>
    <p:extLst>
      <p:ext uri="{BB962C8B-B14F-4D97-AF65-F5344CB8AC3E}">
        <p14:creationId xmlns:p14="http://schemas.microsoft.com/office/powerpoint/2010/main" val="18470829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p:cNvSpPr/>
          <p:nvPr/>
        </p:nvSpPr>
        <p:spPr bwMode="auto">
          <a:xfrm>
            <a:off x="5635487" y="1695450"/>
            <a:ext cx="6040576" cy="408912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301092553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5685"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4" name="Title 3"/>
          <p:cNvSpPr>
            <a:spLocks noGrp="1"/>
          </p:cNvSpPr>
          <p:nvPr>
            <p:ph type="title"/>
          </p:nvPr>
        </p:nvSpPr>
        <p:spPr/>
        <p:txBody>
          <a:bodyPr/>
          <a:lstStyle/>
          <a:p>
            <a:r>
              <a:rPr lang="en-US" dirty="0" smtClean="0"/>
              <a:t>Today</a:t>
            </a:r>
            <a:endParaRPr lang="en-US" dirty="0"/>
          </a:p>
        </p:txBody>
      </p:sp>
      <p:sp>
        <p:nvSpPr>
          <p:cNvPr id="8" name="Text Placeholder 7"/>
          <p:cNvSpPr>
            <a:spLocks noGrp="1"/>
          </p:cNvSpPr>
          <p:nvPr>
            <p:ph type="body" sz="quarter" idx="10"/>
          </p:nvPr>
        </p:nvSpPr>
        <p:spPr>
          <a:xfrm>
            <a:off x="519112" y="1695450"/>
            <a:ext cx="5116375" cy="2215991"/>
          </a:xfrm>
        </p:spPr>
        <p:txBody>
          <a:bodyPr/>
          <a:lstStyle/>
          <a:p>
            <a:r>
              <a:rPr lang="en-US" dirty="0"/>
              <a:t>Today if you want to </a:t>
            </a:r>
            <a:r>
              <a:rPr lang="en-US" dirty="0" smtClean="0"/>
              <a:t/>
            </a:r>
            <a:br>
              <a:rPr lang="en-US" dirty="0" smtClean="0"/>
            </a:br>
            <a:r>
              <a:rPr lang="en-US" dirty="0" smtClean="0"/>
              <a:t>reach your </a:t>
            </a:r>
            <a:r>
              <a:rPr lang="en-US" dirty="0"/>
              <a:t>user, </a:t>
            </a:r>
            <a:r>
              <a:rPr lang="en-US" dirty="0" smtClean="0"/>
              <a:t/>
            </a:r>
            <a:br>
              <a:rPr lang="en-US" dirty="0" smtClean="0"/>
            </a:br>
            <a:r>
              <a:rPr lang="en-US" dirty="0" smtClean="0"/>
              <a:t>you have </a:t>
            </a:r>
            <a:r>
              <a:rPr lang="en-US" dirty="0"/>
              <a:t>to </a:t>
            </a:r>
            <a:r>
              <a:rPr lang="en-US" dirty="0" smtClean="0"/>
              <a:t>reach </a:t>
            </a:r>
            <a:br>
              <a:rPr lang="en-US" dirty="0" smtClean="0"/>
            </a:br>
            <a:r>
              <a:rPr lang="en-US" dirty="0" smtClean="0"/>
              <a:t>their </a:t>
            </a:r>
            <a:r>
              <a:rPr lang="en-US" dirty="0"/>
              <a:t>device</a:t>
            </a:r>
          </a:p>
        </p:txBody>
      </p:sp>
      <p:grpSp>
        <p:nvGrpSpPr>
          <p:cNvPr id="12" name="Group 11"/>
          <p:cNvGrpSpPr/>
          <p:nvPr/>
        </p:nvGrpSpPr>
        <p:grpSpPr>
          <a:xfrm>
            <a:off x="6432247" y="3065602"/>
            <a:ext cx="4070233" cy="1348821"/>
            <a:chOff x="2718479" y="1405333"/>
            <a:chExt cx="1215734" cy="402878"/>
          </a:xfrm>
        </p:grpSpPr>
        <p:grpSp>
          <p:nvGrpSpPr>
            <p:cNvPr id="13" name="Group 12"/>
            <p:cNvGrpSpPr/>
            <p:nvPr/>
          </p:nvGrpSpPr>
          <p:grpSpPr bwMode="black">
            <a:xfrm>
              <a:off x="2718479" y="1405333"/>
              <a:ext cx="408356" cy="402878"/>
              <a:chOff x="2916435" y="3914152"/>
              <a:chExt cx="930763" cy="918513"/>
            </a:xfrm>
          </p:grpSpPr>
          <p:pic>
            <p:nvPicPr>
              <p:cNvPr id="16" name="Picture 15"/>
              <p:cNvPicPr>
                <a:picLocks noChangeAspect="1"/>
              </p:cNvPicPr>
              <p:nvPr/>
            </p:nvPicPr>
            <p:blipFill>
              <a:blip r:embed="rId7" cstate="print">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a:ext>
                </a:extLst>
              </a:blip>
              <a:stretch>
                <a:fillRect/>
              </a:stretch>
            </p:blipFill>
            <p:spPr bwMode="black">
              <a:xfrm rot="2614426" flipH="1">
                <a:off x="2916435" y="4302640"/>
                <a:ext cx="394555" cy="530025"/>
              </a:xfrm>
              <a:prstGeom prst="rect">
                <a:avLst/>
              </a:prstGeom>
            </p:spPr>
          </p:pic>
          <p:sp>
            <p:nvSpPr>
              <p:cNvPr id="17" name="Freeform 61"/>
              <p:cNvSpPr>
                <a:spLocks/>
              </p:cNvSpPr>
              <p:nvPr/>
            </p:nvSpPr>
            <p:spPr bwMode="black">
              <a:xfrm rot="10800000">
                <a:off x="3279998" y="3914152"/>
                <a:ext cx="567200" cy="820335"/>
              </a:xfrm>
              <a:custGeom>
                <a:avLst/>
                <a:gdLst/>
                <a:ahLst/>
                <a:cxnLst>
                  <a:cxn ang="0">
                    <a:pos x="251" y="363"/>
                  </a:cxn>
                  <a:cxn ang="0">
                    <a:pos x="243" y="372"/>
                  </a:cxn>
                  <a:cxn ang="0">
                    <a:pos x="35" y="372"/>
                  </a:cxn>
                  <a:cxn ang="0">
                    <a:pos x="27" y="363"/>
                  </a:cxn>
                  <a:cxn ang="0">
                    <a:pos x="27" y="36"/>
                  </a:cxn>
                  <a:cxn ang="0">
                    <a:pos x="35" y="27"/>
                  </a:cxn>
                  <a:cxn ang="0">
                    <a:pos x="243" y="27"/>
                  </a:cxn>
                  <a:cxn ang="0">
                    <a:pos x="251" y="36"/>
                  </a:cxn>
                  <a:cxn ang="0">
                    <a:pos x="251" y="108"/>
                  </a:cxn>
                  <a:cxn ang="0">
                    <a:pos x="277" y="84"/>
                  </a:cxn>
                  <a:cxn ang="0">
                    <a:pos x="277" y="10"/>
                  </a:cxn>
                  <a:cxn ang="0">
                    <a:pos x="267" y="0"/>
                  </a:cxn>
                  <a:cxn ang="0">
                    <a:pos x="11" y="0"/>
                  </a:cxn>
                  <a:cxn ang="0">
                    <a:pos x="0" y="10"/>
                  </a:cxn>
                  <a:cxn ang="0">
                    <a:pos x="0" y="389"/>
                  </a:cxn>
                  <a:cxn ang="0">
                    <a:pos x="11" y="399"/>
                  </a:cxn>
                  <a:cxn ang="0">
                    <a:pos x="267" y="399"/>
                  </a:cxn>
                  <a:cxn ang="0">
                    <a:pos x="277" y="389"/>
                  </a:cxn>
                  <a:cxn ang="0">
                    <a:pos x="277" y="168"/>
                  </a:cxn>
                  <a:cxn ang="0">
                    <a:pos x="251" y="191"/>
                  </a:cxn>
                  <a:cxn ang="0">
                    <a:pos x="251" y="363"/>
                  </a:cxn>
                </a:cxnLst>
                <a:rect l="0" t="0" r="r" b="b"/>
                <a:pathLst>
                  <a:path w="277" h="399">
                    <a:moveTo>
                      <a:pt x="251" y="363"/>
                    </a:moveTo>
                    <a:cubicBezTo>
                      <a:pt x="251" y="368"/>
                      <a:pt x="247" y="372"/>
                      <a:pt x="243" y="372"/>
                    </a:cubicBezTo>
                    <a:cubicBezTo>
                      <a:pt x="35" y="372"/>
                      <a:pt x="35" y="372"/>
                      <a:pt x="35" y="372"/>
                    </a:cubicBezTo>
                    <a:cubicBezTo>
                      <a:pt x="31" y="372"/>
                      <a:pt x="27" y="368"/>
                      <a:pt x="27" y="363"/>
                    </a:cubicBezTo>
                    <a:cubicBezTo>
                      <a:pt x="27" y="36"/>
                      <a:pt x="27" y="36"/>
                      <a:pt x="27" y="36"/>
                    </a:cubicBezTo>
                    <a:cubicBezTo>
                      <a:pt x="27" y="31"/>
                      <a:pt x="31" y="27"/>
                      <a:pt x="35" y="27"/>
                    </a:cubicBezTo>
                    <a:cubicBezTo>
                      <a:pt x="243" y="27"/>
                      <a:pt x="243" y="27"/>
                      <a:pt x="243" y="27"/>
                    </a:cubicBezTo>
                    <a:cubicBezTo>
                      <a:pt x="247" y="27"/>
                      <a:pt x="251" y="31"/>
                      <a:pt x="251" y="36"/>
                    </a:cubicBezTo>
                    <a:cubicBezTo>
                      <a:pt x="251" y="108"/>
                      <a:pt x="251" y="108"/>
                      <a:pt x="251" y="108"/>
                    </a:cubicBezTo>
                    <a:cubicBezTo>
                      <a:pt x="277" y="84"/>
                      <a:pt x="277" y="84"/>
                      <a:pt x="277" y="84"/>
                    </a:cubicBezTo>
                    <a:cubicBezTo>
                      <a:pt x="277" y="10"/>
                      <a:pt x="277" y="10"/>
                      <a:pt x="277" y="10"/>
                    </a:cubicBezTo>
                    <a:cubicBezTo>
                      <a:pt x="277" y="4"/>
                      <a:pt x="273" y="0"/>
                      <a:pt x="267" y="0"/>
                    </a:cubicBezTo>
                    <a:cubicBezTo>
                      <a:pt x="11" y="0"/>
                      <a:pt x="11" y="0"/>
                      <a:pt x="11" y="0"/>
                    </a:cubicBezTo>
                    <a:cubicBezTo>
                      <a:pt x="5" y="0"/>
                      <a:pt x="0" y="4"/>
                      <a:pt x="0" y="10"/>
                    </a:cubicBezTo>
                    <a:cubicBezTo>
                      <a:pt x="0" y="389"/>
                      <a:pt x="0" y="389"/>
                      <a:pt x="0" y="389"/>
                    </a:cubicBezTo>
                    <a:cubicBezTo>
                      <a:pt x="0" y="395"/>
                      <a:pt x="5" y="399"/>
                      <a:pt x="11" y="399"/>
                    </a:cubicBezTo>
                    <a:cubicBezTo>
                      <a:pt x="267" y="399"/>
                      <a:pt x="267" y="399"/>
                      <a:pt x="267" y="399"/>
                    </a:cubicBezTo>
                    <a:cubicBezTo>
                      <a:pt x="273" y="399"/>
                      <a:pt x="277" y="395"/>
                      <a:pt x="277" y="389"/>
                    </a:cubicBezTo>
                    <a:cubicBezTo>
                      <a:pt x="277" y="168"/>
                      <a:pt x="277" y="168"/>
                      <a:pt x="277" y="168"/>
                    </a:cubicBezTo>
                    <a:cubicBezTo>
                      <a:pt x="251" y="191"/>
                      <a:pt x="251" y="191"/>
                      <a:pt x="251" y="191"/>
                    </a:cubicBezTo>
                    <a:lnTo>
                      <a:pt x="251" y="363"/>
                    </a:lnTo>
                    <a:close/>
                  </a:path>
                </a:pathLst>
              </a:custGeom>
              <a:solidFill>
                <a:srgbClr val="FFFFFF"/>
              </a:solidFill>
              <a:extLst/>
            </p:spPr>
            <p:txBody>
              <a:bodyPr vert="horz" wrap="square" lIns="91440" tIns="45720" rIns="91440" bIns="45720" numCol="1" anchor="t" anchorCtr="0" compatLnSpc="1">
                <a:prstTxWarp prst="textNoShape">
                  <a:avLst/>
                </a:prstTxWarp>
              </a:bodyPr>
              <a:lstStyle/>
              <a:p>
                <a:endParaRPr lang="en-US" sz="900" dirty="0">
                  <a:solidFill>
                    <a:srgbClr val="FFFFFF"/>
                  </a:solidFill>
                </a:endParaRPr>
              </a:p>
            </p:txBody>
          </p:sp>
        </p:grpSp>
        <p:sp>
          <p:nvSpPr>
            <p:cNvPr id="14" name="Freeform 20"/>
            <p:cNvSpPr>
              <a:spLocks noEditPoints="1"/>
            </p:cNvSpPr>
            <p:nvPr/>
          </p:nvSpPr>
          <p:spPr bwMode="black">
            <a:xfrm>
              <a:off x="3184647" y="1411891"/>
              <a:ext cx="508115" cy="353260"/>
            </a:xfrm>
            <a:custGeom>
              <a:avLst/>
              <a:gdLst/>
              <a:ahLst/>
              <a:cxnLst>
                <a:cxn ang="0">
                  <a:pos x="774" y="456"/>
                </a:cxn>
                <a:cxn ang="0">
                  <a:pos x="774" y="36"/>
                </a:cxn>
                <a:cxn ang="0">
                  <a:pos x="737" y="0"/>
                </a:cxn>
                <a:cxn ang="0">
                  <a:pos x="107" y="0"/>
                </a:cxn>
                <a:cxn ang="0">
                  <a:pos x="71" y="36"/>
                </a:cxn>
                <a:cxn ang="0">
                  <a:pos x="71" y="456"/>
                </a:cxn>
                <a:cxn ang="0">
                  <a:pos x="0" y="544"/>
                </a:cxn>
                <a:cxn ang="0">
                  <a:pos x="44" y="588"/>
                </a:cxn>
                <a:cxn ang="0">
                  <a:pos x="800" y="588"/>
                </a:cxn>
                <a:cxn ang="0">
                  <a:pos x="844" y="544"/>
                </a:cxn>
                <a:cxn ang="0">
                  <a:pos x="774" y="456"/>
                </a:cxn>
                <a:cxn ang="0">
                  <a:pos x="481" y="554"/>
                </a:cxn>
                <a:cxn ang="0">
                  <a:pos x="350" y="554"/>
                </a:cxn>
                <a:cxn ang="0">
                  <a:pos x="337" y="547"/>
                </a:cxn>
                <a:cxn ang="0">
                  <a:pos x="352" y="519"/>
                </a:cxn>
                <a:cxn ang="0">
                  <a:pos x="363" y="514"/>
                </a:cxn>
                <a:cxn ang="0">
                  <a:pos x="468" y="514"/>
                </a:cxn>
                <a:cxn ang="0">
                  <a:pos x="478" y="519"/>
                </a:cxn>
                <a:cxn ang="0">
                  <a:pos x="494" y="547"/>
                </a:cxn>
                <a:cxn ang="0">
                  <a:pos x="481" y="554"/>
                </a:cxn>
                <a:cxn ang="0">
                  <a:pos x="748" y="456"/>
                </a:cxn>
                <a:cxn ang="0">
                  <a:pos x="99" y="456"/>
                </a:cxn>
                <a:cxn ang="0">
                  <a:pos x="99" y="42"/>
                </a:cxn>
                <a:cxn ang="0">
                  <a:pos x="117" y="24"/>
                </a:cxn>
                <a:cxn ang="0">
                  <a:pos x="730" y="24"/>
                </a:cxn>
                <a:cxn ang="0">
                  <a:pos x="748" y="42"/>
                </a:cxn>
                <a:cxn ang="0">
                  <a:pos x="748" y="456"/>
                </a:cxn>
              </a:cxnLst>
              <a:rect l="0" t="0" r="r" b="b"/>
              <a:pathLst>
                <a:path w="844" h="588">
                  <a:moveTo>
                    <a:pt x="774" y="456"/>
                  </a:moveTo>
                  <a:cubicBezTo>
                    <a:pt x="774" y="36"/>
                    <a:pt x="774" y="36"/>
                    <a:pt x="774" y="36"/>
                  </a:cubicBezTo>
                  <a:cubicBezTo>
                    <a:pt x="774" y="16"/>
                    <a:pt x="757" y="0"/>
                    <a:pt x="737" y="0"/>
                  </a:cubicBezTo>
                  <a:cubicBezTo>
                    <a:pt x="107" y="0"/>
                    <a:pt x="107" y="0"/>
                    <a:pt x="107" y="0"/>
                  </a:cubicBezTo>
                  <a:cubicBezTo>
                    <a:pt x="87" y="0"/>
                    <a:pt x="71" y="16"/>
                    <a:pt x="71" y="36"/>
                  </a:cubicBezTo>
                  <a:cubicBezTo>
                    <a:pt x="71" y="456"/>
                    <a:pt x="71" y="456"/>
                    <a:pt x="71" y="456"/>
                  </a:cubicBezTo>
                  <a:cubicBezTo>
                    <a:pt x="0" y="544"/>
                    <a:pt x="0" y="544"/>
                    <a:pt x="0" y="544"/>
                  </a:cubicBezTo>
                  <a:cubicBezTo>
                    <a:pt x="0" y="568"/>
                    <a:pt x="20" y="588"/>
                    <a:pt x="44" y="588"/>
                  </a:cubicBezTo>
                  <a:cubicBezTo>
                    <a:pt x="800" y="588"/>
                    <a:pt x="800" y="588"/>
                    <a:pt x="800" y="588"/>
                  </a:cubicBezTo>
                  <a:cubicBezTo>
                    <a:pt x="824" y="588"/>
                    <a:pt x="844" y="568"/>
                    <a:pt x="844" y="544"/>
                  </a:cubicBezTo>
                  <a:lnTo>
                    <a:pt x="774" y="456"/>
                  </a:lnTo>
                  <a:close/>
                  <a:moveTo>
                    <a:pt x="481" y="554"/>
                  </a:moveTo>
                  <a:cubicBezTo>
                    <a:pt x="350" y="554"/>
                    <a:pt x="350" y="554"/>
                    <a:pt x="350" y="554"/>
                  </a:cubicBezTo>
                  <a:cubicBezTo>
                    <a:pt x="343" y="554"/>
                    <a:pt x="337" y="551"/>
                    <a:pt x="337" y="547"/>
                  </a:cubicBezTo>
                  <a:cubicBezTo>
                    <a:pt x="352" y="519"/>
                    <a:pt x="352" y="519"/>
                    <a:pt x="352" y="519"/>
                  </a:cubicBezTo>
                  <a:cubicBezTo>
                    <a:pt x="352" y="516"/>
                    <a:pt x="357" y="514"/>
                    <a:pt x="363" y="514"/>
                  </a:cubicBezTo>
                  <a:cubicBezTo>
                    <a:pt x="468" y="514"/>
                    <a:pt x="468" y="514"/>
                    <a:pt x="468" y="514"/>
                  </a:cubicBezTo>
                  <a:cubicBezTo>
                    <a:pt x="473" y="514"/>
                    <a:pt x="478" y="516"/>
                    <a:pt x="478" y="519"/>
                  </a:cubicBezTo>
                  <a:cubicBezTo>
                    <a:pt x="494" y="547"/>
                    <a:pt x="494" y="547"/>
                    <a:pt x="494" y="547"/>
                  </a:cubicBezTo>
                  <a:cubicBezTo>
                    <a:pt x="494" y="551"/>
                    <a:pt x="488" y="554"/>
                    <a:pt x="481" y="554"/>
                  </a:cubicBezTo>
                  <a:close/>
                  <a:moveTo>
                    <a:pt x="748" y="456"/>
                  </a:moveTo>
                  <a:cubicBezTo>
                    <a:pt x="99" y="456"/>
                    <a:pt x="99" y="456"/>
                    <a:pt x="99" y="456"/>
                  </a:cubicBezTo>
                  <a:cubicBezTo>
                    <a:pt x="99" y="42"/>
                    <a:pt x="99" y="42"/>
                    <a:pt x="99" y="42"/>
                  </a:cubicBezTo>
                  <a:cubicBezTo>
                    <a:pt x="99" y="32"/>
                    <a:pt x="107" y="24"/>
                    <a:pt x="117" y="24"/>
                  </a:cubicBezTo>
                  <a:cubicBezTo>
                    <a:pt x="730" y="24"/>
                    <a:pt x="730" y="24"/>
                    <a:pt x="730" y="24"/>
                  </a:cubicBezTo>
                  <a:cubicBezTo>
                    <a:pt x="740" y="24"/>
                    <a:pt x="748" y="32"/>
                    <a:pt x="748" y="42"/>
                  </a:cubicBezTo>
                  <a:lnTo>
                    <a:pt x="748" y="456"/>
                  </a:lnTo>
                  <a:close/>
                </a:path>
              </a:pathLst>
            </a:custGeom>
            <a:solidFill>
              <a:srgbClr val="FFFFFF"/>
            </a:solidFill>
            <a:extLst/>
          </p:spPr>
          <p:txBody>
            <a:bodyPr vert="horz" wrap="square" lIns="82305" tIns="41153" rIns="82305" bIns="41153" numCol="1" anchor="t" anchorCtr="0" compatLnSpc="1">
              <a:prstTxWarp prst="textNoShape">
                <a:avLst/>
              </a:prstTxWarp>
            </a:bodyPr>
            <a:lstStyle/>
            <a:p>
              <a:endParaRPr lang="en-US" sz="900" dirty="0">
                <a:solidFill>
                  <a:srgbClr val="FFFFFF"/>
                </a:solidFill>
              </a:endParaRPr>
            </a:p>
          </p:txBody>
        </p:sp>
        <p:sp>
          <p:nvSpPr>
            <p:cNvPr id="15" name="Freeform 7"/>
            <p:cNvSpPr>
              <a:spLocks noEditPoints="1"/>
            </p:cNvSpPr>
            <p:nvPr/>
          </p:nvSpPr>
          <p:spPr bwMode="auto">
            <a:xfrm>
              <a:off x="3746579" y="1405333"/>
              <a:ext cx="187634" cy="359815"/>
            </a:xfrm>
            <a:custGeom>
              <a:avLst/>
              <a:gdLst>
                <a:gd name="T0" fmla="*/ 146 w 180"/>
                <a:gd name="T1" fmla="*/ 310 h 345"/>
                <a:gd name="T2" fmla="*/ 145 w 180"/>
                <a:gd name="T3" fmla="*/ 318 h 345"/>
                <a:gd name="T4" fmla="*/ 150 w 180"/>
                <a:gd name="T5" fmla="*/ 315 h 345"/>
                <a:gd name="T6" fmla="*/ 147 w 180"/>
                <a:gd name="T7" fmla="*/ 310 h 345"/>
                <a:gd name="T8" fmla="*/ 11 w 180"/>
                <a:gd name="T9" fmla="*/ 0 h 345"/>
                <a:gd name="T10" fmla="*/ 0 w 180"/>
                <a:gd name="T11" fmla="*/ 334 h 345"/>
                <a:gd name="T12" fmla="*/ 169 w 180"/>
                <a:gd name="T13" fmla="*/ 345 h 345"/>
                <a:gd name="T14" fmla="*/ 180 w 180"/>
                <a:gd name="T15" fmla="*/ 10 h 345"/>
                <a:gd name="T16" fmla="*/ 50 w 180"/>
                <a:gd name="T17" fmla="*/ 316 h 345"/>
                <a:gd name="T18" fmla="*/ 43 w 180"/>
                <a:gd name="T19" fmla="*/ 322 h 345"/>
                <a:gd name="T20" fmla="*/ 29 w 180"/>
                <a:gd name="T21" fmla="*/ 314 h 345"/>
                <a:gd name="T22" fmla="*/ 43 w 180"/>
                <a:gd name="T23" fmla="*/ 305 h 345"/>
                <a:gd name="T24" fmla="*/ 50 w 180"/>
                <a:gd name="T25" fmla="*/ 311 h 345"/>
                <a:gd name="T26" fmla="*/ 80 w 180"/>
                <a:gd name="T27" fmla="*/ 321 h 345"/>
                <a:gd name="T28" fmla="*/ 82 w 180"/>
                <a:gd name="T29" fmla="*/ 314 h 345"/>
                <a:gd name="T30" fmla="*/ 88 w 180"/>
                <a:gd name="T31" fmla="*/ 322 h 345"/>
                <a:gd name="T32" fmla="*/ 82 w 180"/>
                <a:gd name="T33" fmla="*/ 312 h 345"/>
                <a:gd name="T34" fmla="*/ 93 w 180"/>
                <a:gd name="T35" fmla="*/ 305 h 345"/>
                <a:gd name="T36" fmla="*/ 82 w 180"/>
                <a:gd name="T37" fmla="*/ 312 h 345"/>
                <a:gd name="T38" fmla="*/ 89 w 180"/>
                <a:gd name="T39" fmla="*/ 323 h 345"/>
                <a:gd name="T40" fmla="*/ 100 w 180"/>
                <a:gd name="T41" fmla="*/ 315 h 345"/>
                <a:gd name="T42" fmla="*/ 101 w 180"/>
                <a:gd name="T43" fmla="*/ 314 h 345"/>
                <a:gd name="T44" fmla="*/ 94 w 180"/>
                <a:gd name="T45" fmla="*/ 305 h 345"/>
                <a:gd name="T46" fmla="*/ 103 w 180"/>
                <a:gd name="T47" fmla="*/ 306 h 345"/>
                <a:gd name="T48" fmla="*/ 152 w 180"/>
                <a:gd name="T49" fmla="*/ 314 h 345"/>
                <a:gd name="T50" fmla="*/ 144 w 180"/>
                <a:gd name="T51" fmla="*/ 319 h 345"/>
                <a:gd name="T52" fmla="*/ 138 w 180"/>
                <a:gd name="T53" fmla="*/ 323 h 345"/>
                <a:gd name="T54" fmla="*/ 136 w 180"/>
                <a:gd name="T55" fmla="*/ 323 h 345"/>
                <a:gd name="T56" fmla="*/ 140 w 180"/>
                <a:gd name="T57" fmla="*/ 316 h 345"/>
                <a:gd name="T58" fmla="*/ 146 w 180"/>
                <a:gd name="T59" fmla="*/ 307 h 345"/>
                <a:gd name="T60" fmla="*/ 151 w 180"/>
                <a:gd name="T61" fmla="*/ 310 h 345"/>
                <a:gd name="T62" fmla="*/ 163 w 180"/>
                <a:gd name="T63" fmla="*/ 272 h 345"/>
                <a:gd name="T64" fmla="*/ 17 w 180"/>
                <a:gd name="T65" fmla="*/ 28 h 345"/>
                <a:gd name="T66" fmla="*/ 163 w 180"/>
                <a:gd name="T67" fmla="*/ 272 h 3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0" h="345">
                  <a:moveTo>
                    <a:pt x="147" y="310"/>
                  </a:moveTo>
                  <a:cubicBezTo>
                    <a:pt x="147" y="310"/>
                    <a:pt x="147" y="310"/>
                    <a:pt x="146" y="310"/>
                  </a:cubicBezTo>
                  <a:cubicBezTo>
                    <a:pt x="145" y="310"/>
                    <a:pt x="143" y="311"/>
                    <a:pt x="143" y="312"/>
                  </a:cubicBezTo>
                  <a:cubicBezTo>
                    <a:pt x="142" y="315"/>
                    <a:pt x="143" y="317"/>
                    <a:pt x="145" y="318"/>
                  </a:cubicBezTo>
                  <a:cubicBezTo>
                    <a:pt x="146" y="318"/>
                    <a:pt x="146" y="318"/>
                    <a:pt x="146" y="318"/>
                  </a:cubicBezTo>
                  <a:cubicBezTo>
                    <a:pt x="148" y="318"/>
                    <a:pt x="150" y="316"/>
                    <a:pt x="150" y="315"/>
                  </a:cubicBezTo>
                  <a:cubicBezTo>
                    <a:pt x="150" y="313"/>
                    <a:pt x="150" y="312"/>
                    <a:pt x="150" y="311"/>
                  </a:cubicBezTo>
                  <a:cubicBezTo>
                    <a:pt x="149" y="310"/>
                    <a:pt x="148" y="310"/>
                    <a:pt x="147" y="310"/>
                  </a:cubicBezTo>
                  <a:close/>
                  <a:moveTo>
                    <a:pt x="169" y="0"/>
                  </a:moveTo>
                  <a:cubicBezTo>
                    <a:pt x="11" y="0"/>
                    <a:pt x="11" y="0"/>
                    <a:pt x="11" y="0"/>
                  </a:cubicBezTo>
                  <a:cubicBezTo>
                    <a:pt x="5" y="0"/>
                    <a:pt x="0" y="4"/>
                    <a:pt x="0" y="10"/>
                  </a:cubicBezTo>
                  <a:cubicBezTo>
                    <a:pt x="0" y="334"/>
                    <a:pt x="0" y="334"/>
                    <a:pt x="0" y="334"/>
                  </a:cubicBezTo>
                  <a:cubicBezTo>
                    <a:pt x="0" y="340"/>
                    <a:pt x="5" y="345"/>
                    <a:pt x="11" y="345"/>
                  </a:cubicBezTo>
                  <a:cubicBezTo>
                    <a:pt x="169" y="345"/>
                    <a:pt x="169" y="345"/>
                    <a:pt x="169" y="345"/>
                  </a:cubicBezTo>
                  <a:cubicBezTo>
                    <a:pt x="175" y="345"/>
                    <a:pt x="180" y="340"/>
                    <a:pt x="180" y="334"/>
                  </a:cubicBezTo>
                  <a:cubicBezTo>
                    <a:pt x="180" y="10"/>
                    <a:pt x="180" y="10"/>
                    <a:pt x="180" y="10"/>
                  </a:cubicBezTo>
                  <a:cubicBezTo>
                    <a:pt x="180" y="4"/>
                    <a:pt x="175" y="0"/>
                    <a:pt x="169" y="0"/>
                  </a:cubicBezTo>
                  <a:close/>
                  <a:moveTo>
                    <a:pt x="50" y="316"/>
                  </a:moveTo>
                  <a:cubicBezTo>
                    <a:pt x="36" y="316"/>
                    <a:pt x="36" y="316"/>
                    <a:pt x="36" y="316"/>
                  </a:cubicBezTo>
                  <a:cubicBezTo>
                    <a:pt x="43" y="322"/>
                    <a:pt x="43" y="322"/>
                    <a:pt x="43" y="322"/>
                  </a:cubicBezTo>
                  <a:cubicBezTo>
                    <a:pt x="37" y="322"/>
                    <a:pt x="37" y="322"/>
                    <a:pt x="37" y="322"/>
                  </a:cubicBezTo>
                  <a:cubicBezTo>
                    <a:pt x="29" y="314"/>
                    <a:pt x="29" y="314"/>
                    <a:pt x="29" y="314"/>
                  </a:cubicBezTo>
                  <a:cubicBezTo>
                    <a:pt x="37" y="305"/>
                    <a:pt x="37" y="305"/>
                    <a:pt x="37" y="305"/>
                  </a:cubicBezTo>
                  <a:cubicBezTo>
                    <a:pt x="43" y="305"/>
                    <a:pt x="43" y="305"/>
                    <a:pt x="43" y="305"/>
                  </a:cubicBezTo>
                  <a:cubicBezTo>
                    <a:pt x="36" y="311"/>
                    <a:pt x="36" y="311"/>
                    <a:pt x="36" y="311"/>
                  </a:cubicBezTo>
                  <a:cubicBezTo>
                    <a:pt x="50" y="311"/>
                    <a:pt x="50" y="311"/>
                    <a:pt x="50" y="311"/>
                  </a:cubicBezTo>
                  <a:lnTo>
                    <a:pt x="50" y="316"/>
                  </a:lnTo>
                  <a:close/>
                  <a:moveTo>
                    <a:pt x="80" y="321"/>
                  </a:moveTo>
                  <a:cubicBezTo>
                    <a:pt x="80" y="321"/>
                    <a:pt x="80" y="321"/>
                    <a:pt x="80" y="320"/>
                  </a:cubicBezTo>
                  <a:cubicBezTo>
                    <a:pt x="82" y="314"/>
                    <a:pt x="82" y="314"/>
                    <a:pt x="82" y="314"/>
                  </a:cubicBezTo>
                  <a:cubicBezTo>
                    <a:pt x="86" y="311"/>
                    <a:pt x="89" y="312"/>
                    <a:pt x="90" y="314"/>
                  </a:cubicBezTo>
                  <a:cubicBezTo>
                    <a:pt x="88" y="322"/>
                    <a:pt x="88" y="322"/>
                    <a:pt x="88" y="322"/>
                  </a:cubicBezTo>
                  <a:cubicBezTo>
                    <a:pt x="86" y="320"/>
                    <a:pt x="84" y="319"/>
                    <a:pt x="80" y="321"/>
                  </a:cubicBezTo>
                  <a:close/>
                  <a:moveTo>
                    <a:pt x="82" y="312"/>
                  </a:moveTo>
                  <a:cubicBezTo>
                    <a:pt x="84" y="304"/>
                    <a:pt x="84" y="304"/>
                    <a:pt x="84" y="304"/>
                  </a:cubicBezTo>
                  <a:cubicBezTo>
                    <a:pt x="89" y="302"/>
                    <a:pt x="91" y="303"/>
                    <a:pt x="93" y="305"/>
                  </a:cubicBezTo>
                  <a:cubicBezTo>
                    <a:pt x="91" y="312"/>
                    <a:pt x="91" y="312"/>
                    <a:pt x="91" y="312"/>
                  </a:cubicBezTo>
                  <a:cubicBezTo>
                    <a:pt x="89" y="311"/>
                    <a:pt x="86" y="310"/>
                    <a:pt x="82" y="312"/>
                  </a:cubicBezTo>
                  <a:close/>
                  <a:moveTo>
                    <a:pt x="98" y="323"/>
                  </a:moveTo>
                  <a:cubicBezTo>
                    <a:pt x="93" y="325"/>
                    <a:pt x="92" y="323"/>
                    <a:pt x="89" y="323"/>
                  </a:cubicBezTo>
                  <a:cubicBezTo>
                    <a:pt x="92" y="314"/>
                    <a:pt x="92" y="314"/>
                    <a:pt x="92" y="314"/>
                  </a:cubicBezTo>
                  <a:cubicBezTo>
                    <a:pt x="94" y="316"/>
                    <a:pt x="95" y="317"/>
                    <a:pt x="100" y="315"/>
                  </a:cubicBezTo>
                  <a:lnTo>
                    <a:pt x="98" y="323"/>
                  </a:lnTo>
                  <a:close/>
                  <a:moveTo>
                    <a:pt x="101" y="314"/>
                  </a:moveTo>
                  <a:cubicBezTo>
                    <a:pt x="96" y="316"/>
                    <a:pt x="94" y="314"/>
                    <a:pt x="92" y="313"/>
                  </a:cubicBezTo>
                  <a:cubicBezTo>
                    <a:pt x="94" y="305"/>
                    <a:pt x="94" y="305"/>
                    <a:pt x="94" y="305"/>
                  </a:cubicBezTo>
                  <a:cubicBezTo>
                    <a:pt x="96" y="307"/>
                    <a:pt x="98" y="308"/>
                    <a:pt x="102" y="306"/>
                  </a:cubicBezTo>
                  <a:cubicBezTo>
                    <a:pt x="103" y="306"/>
                    <a:pt x="103" y="306"/>
                    <a:pt x="103" y="306"/>
                  </a:cubicBezTo>
                  <a:cubicBezTo>
                    <a:pt x="101" y="314"/>
                    <a:pt x="101" y="314"/>
                    <a:pt x="101" y="314"/>
                  </a:cubicBezTo>
                  <a:close/>
                  <a:moveTo>
                    <a:pt x="152" y="314"/>
                  </a:moveTo>
                  <a:cubicBezTo>
                    <a:pt x="151" y="317"/>
                    <a:pt x="149" y="319"/>
                    <a:pt x="146" y="319"/>
                  </a:cubicBezTo>
                  <a:cubicBezTo>
                    <a:pt x="146" y="319"/>
                    <a:pt x="145" y="319"/>
                    <a:pt x="144" y="319"/>
                  </a:cubicBezTo>
                  <a:cubicBezTo>
                    <a:pt x="143" y="319"/>
                    <a:pt x="143" y="319"/>
                    <a:pt x="143" y="318"/>
                  </a:cubicBezTo>
                  <a:cubicBezTo>
                    <a:pt x="138" y="323"/>
                    <a:pt x="138" y="323"/>
                    <a:pt x="138" y="323"/>
                  </a:cubicBezTo>
                  <a:cubicBezTo>
                    <a:pt x="138" y="323"/>
                    <a:pt x="137" y="323"/>
                    <a:pt x="137" y="323"/>
                  </a:cubicBezTo>
                  <a:cubicBezTo>
                    <a:pt x="137" y="323"/>
                    <a:pt x="137" y="323"/>
                    <a:pt x="136" y="323"/>
                  </a:cubicBezTo>
                  <a:cubicBezTo>
                    <a:pt x="135" y="323"/>
                    <a:pt x="135" y="321"/>
                    <a:pt x="136" y="321"/>
                  </a:cubicBezTo>
                  <a:cubicBezTo>
                    <a:pt x="140" y="316"/>
                    <a:pt x="140" y="316"/>
                    <a:pt x="140" y="316"/>
                  </a:cubicBezTo>
                  <a:cubicBezTo>
                    <a:pt x="140" y="315"/>
                    <a:pt x="140" y="314"/>
                    <a:pt x="140" y="311"/>
                  </a:cubicBezTo>
                  <a:cubicBezTo>
                    <a:pt x="140" y="309"/>
                    <a:pt x="143" y="307"/>
                    <a:pt x="146" y="307"/>
                  </a:cubicBezTo>
                  <a:cubicBezTo>
                    <a:pt x="146" y="307"/>
                    <a:pt x="146" y="307"/>
                    <a:pt x="147" y="308"/>
                  </a:cubicBezTo>
                  <a:cubicBezTo>
                    <a:pt x="149" y="308"/>
                    <a:pt x="150" y="308"/>
                    <a:pt x="151" y="310"/>
                  </a:cubicBezTo>
                  <a:cubicBezTo>
                    <a:pt x="152" y="311"/>
                    <a:pt x="152" y="313"/>
                    <a:pt x="152" y="314"/>
                  </a:cubicBezTo>
                  <a:close/>
                  <a:moveTo>
                    <a:pt x="163" y="272"/>
                  </a:moveTo>
                  <a:cubicBezTo>
                    <a:pt x="17" y="272"/>
                    <a:pt x="17" y="272"/>
                    <a:pt x="17" y="272"/>
                  </a:cubicBezTo>
                  <a:cubicBezTo>
                    <a:pt x="17" y="28"/>
                    <a:pt x="17" y="28"/>
                    <a:pt x="17" y="28"/>
                  </a:cubicBezTo>
                  <a:cubicBezTo>
                    <a:pt x="163" y="28"/>
                    <a:pt x="163" y="28"/>
                    <a:pt x="163" y="28"/>
                  </a:cubicBezTo>
                  <a:lnTo>
                    <a:pt x="163" y="2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9" name="Text Placeholder 7"/>
          <p:cNvSpPr txBox="1">
            <a:spLocks/>
          </p:cNvSpPr>
          <p:nvPr/>
        </p:nvSpPr>
        <p:spPr>
          <a:xfrm>
            <a:off x="519112" y="4270260"/>
            <a:ext cx="5116375" cy="1107996"/>
          </a:xfrm>
          <a:prstGeom prst="rect">
            <a:avLst/>
          </a:prstGeom>
        </p:spPr>
        <p:txBody>
          <a:bodyPr vert="horz" wrap="square" lIns="0" tIns="0" rIns="0" bIns="0" rtlCol="0">
            <a:spAutoFit/>
          </a:bodyPr>
          <a:lstStyle>
            <a:lvl1pPr marL="3175" indent="0" algn="l" defTabSz="914363" rtl="0" eaLnBrk="1" latinLnBrk="0" hangingPunct="1">
              <a:lnSpc>
                <a:spcPct val="90000"/>
              </a:lnSpc>
              <a:spcBef>
                <a:spcPts val="0"/>
              </a:spcBef>
              <a:spcAft>
                <a:spcPts val="900"/>
              </a:spcAft>
              <a:buSzPct val="80000"/>
              <a:buFont typeface="Arial" pitchFamily="34" charset="0"/>
              <a:buNone/>
              <a:defRPr sz="4000" kern="1200" spc="-100" baseline="0">
                <a:gradFill>
                  <a:gsLst>
                    <a:gs pos="0">
                      <a:srgbClr val="595959"/>
                    </a:gs>
                    <a:gs pos="86000">
                      <a:srgbClr val="595959"/>
                    </a:gs>
                  </a:gsLst>
                  <a:lin ang="5400000" scaled="0"/>
                </a:gradFill>
                <a:latin typeface="Segoe UI Light" pitchFamily="34" charset="0"/>
                <a:ea typeface="+mn-ea"/>
                <a:cs typeface="+mn-cs"/>
              </a:defRPr>
            </a:lvl1pPr>
            <a:lvl2pPr marL="3175" indent="0" algn="l" defTabSz="914363" rtl="0" eaLnBrk="1" latinLnBrk="0" hangingPunct="1">
              <a:lnSpc>
                <a:spcPct val="90000"/>
              </a:lnSpc>
              <a:spcBef>
                <a:spcPts val="0"/>
              </a:spcBef>
              <a:buSzPct val="80000"/>
              <a:buFont typeface="Arial" pitchFamily="34" charset="0"/>
              <a:buNone/>
              <a:defRPr sz="2000" kern="1200" spc="-50" baseline="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Tx/>
              <a:buBlip>
                <a:blip r:embed="rId9"/>
              </a:buBlip>
              <a:defRPr sz="24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Tx/>
              <a:buBlip>
                <a:blip r:embed="rId9"/>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Tx/>
              <a:buBlip>
                <a:blip r:embed="rId9"/>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smtClean="0"/>
              <a:t>In this talk you’ll </a:t>
            </a:r>
            <a:br>
              <a:rPr lang="en-US" dirty="0" smtClean="0"/>
            </a:br>
            <a:r>
              <a:rPr lang="en-US" dirty="0" smtClean="0"/>
              <a:t>learn how</a:t>
            </a:r>
            <a:endParaRPr lang="en-US" dirty="0"/>
          </a:p>
        </p:txBody>
      </p:sp>
    </p:spTree>
    <p:extLst>
      <p:ext uri="{BB962C8B-B14F-4D97-AF65-F5344CB8AC3E}">
        <p14:creationId xmlns:p14="http://schemas.microsoft.com/office/powerpoint/2010/main" val="8329724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after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anim calcmode="lin" valueType="num">
                                      <p:cBhvr additive="base">
                                        <p:cTn id="7" dur="500" fill="hold"/>
                                        <p:tgtEl>
                                          <p:spTgt spid="8">
                                            <p:txEl>
                                              <p:pRg st="0" end="0"/>
                                            </p:txEl>
                                          </p:spTgt>
                                        </p:tgtEl>
                                        <p:attrNameLst>
                                          <p:attrName>ppt_x</p:attrName>
                                        </p:attrNameLst>
                                      </p:cBhvr>
                                      <p:tavLst>
                                        <p:tav tm="0">
                                          <p:val>
                                            <p:strVal val="1+#ppt_w/2"/>
                                          </p:val>
                                        </p:tav>
                                        <p:tav tm="100000">
                                          <p:val>
                                            <p:strVal val="#ppt_x"/>
                                          </p:val>
                                        </p:tav>
                                      </p:tavLst>
                                    </p:anim>
                                    <p:anim calcmode="lin" valueType="num">
                                      <p:cBhvr additive="base">
                                        <p:cTn id="8" dur="500" fill="hold"/>
                                        <p:tgtEl>
                                          <p:spTgt spid="8">
                                            <p:txEl>
                                              <p:pRg st="0" end="0"/>
                                            </p:txEl>
                                          </p:spTgt>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2" presetClass="entr" presetSubtype="2" decel="100000" fill="hold" grpId="0" nodeType="afterEffect">
                                  <p:stCondLst>
                                    <p:cond delay="0"/>
                                  </p:stCondLst>
                                  <p:childTnLst>
                                    <p:set>
                                      <p:cBhvr>
                                        <p:cTn id="11" dur="1" fill="hold">
                                          <p:stCondLst>
                                            <p:cond delay="0"/>
                                          </p:stCondLst>
                                        </p:cTn>
                                        <p:tgtEl>
                                          <p:spTgt spid="19">
                                            <p:txEl>
                                              <p:pRg st="0" end="0"/>
                                            </p:txEl>
                                          </p:spTgt>
                                        </p:tgtEl>
                                        <p:attrNameLst>
                                          <p:attrName>style.visibility</p:attrName>
                                        </p:attrNameLst>
                                      </p:cBhvr>
                                      <p:to>
                                        <p:strVal val="visible"/>
                                      </p:to>
                                    </p:set>
                                    <p:anim calcmode="lin" valueType="num">
                                      <p:cBhvr additive="base">
                                        <p:cTn id="12" dur="500" fill="hold"/>
                                        <p:tgtEl>
                                          <p:spTgt spid="19">
                                            <p:txEl>
                                              <p:pRg st="0" end="0"/>
                                            </p:txEl>
                                          </p:spTgt>
                                        </p:tgtEl>
                                        <p:attrNameLst>
                                          <p:attrName>ppt_x</p:attrName>
                                        </p:attrNameLst>
                                      </p:cBhvr>
                                      <p:tavLst>
                                        <p:tav tm="0">
                                          <p:val>
                                            <p:strVal val="1+#ppt_w/2"/>
                                          </p:val>
                                        </p:tav>
                                        <p:tav tm="100000">
                                          <p:val>
                                            <p:strVal val="#ppt_x"/>
                                          </p:val>
                                        </p:tav>
                                      </p:tavLst>
                                    </p:anim>
                                    <p:anim calcmode="lin" valueType="num">
                                      <p:cBhvr additive="base">
                                        <p:cTn id="13" dur="500" fill="hold"/>
                                        <p:tgtEl>
                                          <p:spTgt spid="19">
                                            <p:txEl>
                                              <p:pRg st="0" end="0"/>
                                            </p:txEl>
                                          </p:spTgt>
                                        </p:tgtEl>
                                        <p:attrNameLst>
                                          <p:attrName>ppt_y</p:attrName>
                                        </p:attrNameLst>
                                      </p:cBhvr>
                                      <p:tavLst>
                                        <p:tav tm="0">
                                          <p:val>
                                            <p:strVal val="#ppt_y"/>
                                          </p:val>
                                        </p:tav>
                                        <p:tav tm="100000">
                                          <p:val>
                                            <p:strVal val="#ppt_y"/>
                                          </p:val>
                                        </p:tav>
                                      </p:tavLst>
                                    </p:anim>
                                  </p:childTnLst>
                                </p:cTn>
                              </p:par>
                              <p:par>
                                <p:cTn id="14" presetID="2" presetClass="entr" presetSubtype="2" decel="100000" fill="hold" grpId="0" nodeType="withEffect">
                                  <p:stCondLst>
                                    <p:cond delay="250"/>
                                  </p:stCondLst>
                                  <p:childTnLst>
                                    <p:set>
                                      <p:cBhvr>
                                        <p:cTn id="15" dur="1" fill="hold">
                                          <p:stCondLst>
                                            <p:cond delay="0"/>
                                          </p:stCondLst>
                                        </p:cTn>
                                        <p:tgtEl>
                                          <p:spTgt spid="18"/>
                                        </p:tgtEl>
                                        <p:attrNameLst>
                                          <p:attrName>style.visibility</p:attrName>
                                        </p:attrNameLst>
                                      </p:cBhvr>
                                      <p:to>
                                        <p:strVal val="visible"/>
                                      </p:to>
                                    </p:set>
                                    <p:anim calcmode="lin" valueType="num">
                                      <p:cBhvr additive="base">
                                        <p:cTn id="16" dur="500" fill="hold"/>
                                        <p:tgtEl>
                                          <p:spTgt spid="18"/>
                                        </p:tgtEl>
                                        <p:attrNameLst>
                                          <p:attrName>ppt_x</p:attrName>
                                        </p:attrNameLst>
                                      </p:cBhvr>
                                      <p:tavLst>
                                        <p:tav tm="0">
                                          <p:val>
                                            <p:strVal val="1+#ppt_w/2"/>
                                          </p:val>
                                        </p:tav>
                                        <p:tav tm="100000">
                                          <p:val>
                                            <p:strVal val="#ppt_x"/>
                                          </p:val>
                                        </p:tav>
                                      </p:tavLst>
                                    </p:anim>
                                    <p:anim calcmode="lin" valueType="num">
                                      <p:cBhvr additive="base">
                                        <p:cTn id="17" dur="500" fill="hold"/>
                                        <p:tgtEl>
                                          <p:spTgt spid="18"/>
                                        </p:tgtEl>
                                        <p:attrNameLst>
                                          <p:attrName>ppt_y</p:attrName>
                                        </p:attrNameLst>
                                      </p:cBhvr>
                                      <p:tavLst>
                                        <p:tav tm="0">
                                          <p:val>
                                            <p:strVal val="#ppt_y"/>
                                          </p:val>
                                        </p:tav>
                                        <p:tav tm="100000">
                                          <p:val>
                                            <p:strVal val="#ppt_y"/>
                                          </p:val>
                                        </p:tav>
                                      </p:tavLst>
                                    </p:anim>
                                  </p:childTnLst>
                                </p:cTn>
                              </p:par>
                              <p:par>
                                <p:cTn id="18" presetID="2" presetClass="entr" presetSubtype="2" decel="100000" fill="hold" nodeType="withEffect">
                                  <p:stCondLst>
                                    <p:cond delay="500"/>
                                  </p:stCondLst>
                                  <p:childTnLst>
                                    <p:set>
                                      <p:cBhvr>
                                        <p:cTn id="19" dur="1" fill="hold">
                                          <p:stCondLst>
                                            <p:cond delay="0"/>
                                          </p:stCondLst>
                                        </p:cTn>
                                        <p:tgtEl>
                                          <p:spTgt spid="12"/>
                                        </p:tgtEl>
                                        <p:attrNameLst>
                                          <p:attrName>style.visibility</p:attrName>
                                        </p:attrNameLst>
                                      </p:cBhvr>
                                      <p:to>
                                        <p:strVal val="visible"/>
                                      </p:to>
                                    </p:set>
                                    <p:anim calcmode="lin" valueType="num">
                                      <p:cBhvr additive="base">
                                        <p:cTn id="20" dur="500" fill="hold"/>
                                        <p:tgtEl>
                                          <p:spTgt spid="12"/>
                                        </p:tgtEl>
                                        <p:attrNameLst>
                                          <p:attrName>ppt_x</p:attrName>
                                        </p:attrNameLst>
                                      </p:cBhvr>
                                      <p:tavLst>
                                        <p:tav tm="0">
                                          <p:val>
                                            <p:strVal val="1+#ppt_w/2"/>
                                          </p:val>
                                        </p:tav>
                                        <p:tav tm="100000">
                                          <p:val>
                                            <p:strVal val="#ppt_x"/>
                                          </p:val>
                                        </p:tav>
                                      </p:tavLst>
                                    </p:anim>
                                    <p:anim calcmode="lin" valueType="num">
                                      <p:cBhvr additive="base">
                                        <p:cTn id="21" dur="500" fill="hold"/>
                                        <p:tgtEl>
                                          <p:spTgt spid="1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8" grpId="0" build="p"/>
      <p:bldP spid="19" grpId="0" build="p"/>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p:cNvSpPr/>
          <p:nvPr/>
        </p:nvSpPr>
        <p:spPr bwMode="auto">
          <a:xfrm>
            <a:off x="519112" y="6363586"/>
            <a:ext cx="1766888" cy="20733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 name="Title 2"/>
          <p:cNvSpPr>
            <a:spLocks noGrp="1"/>
          </p:cNvSpPr>
          <p:nvPr>
            <p:ph type="title"/>
          </p:nvPr>
        </p:nvSpPr>
        <p:spPr/>
        <p:txBody>
          <a:bodyPr>
            <a:noAutofit/>
          </a:bodyPr>
          <a:lstStyle/>
          <a:p>
            <a:r>
              <a:rPr lang="en-US" dirty="0" smtClean="0"/>
              <a:t>Web API is a part of ASP.NET</a:t>
            </a:r>
            <a:endParaRPr lang="en-US" dirty="0"/>
          </a:p>
        </p:txBody>
      </p:sp>
      <p:sp>
        <p:nvSpPr>
          <p:cNvPr id="4" name="Rectangle 3"/>
          <p:cNvSpPr/>
          <p:nvPr/>
        </p:nvSpPr>
        <p:spPr bwMode="auto">
          <a:xfrm>
            <a:off x="879902" y="4527299"/>
            <a:ext cx="8935748" cy="200400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dirty="0">
              <a:gradFill>
                <a:gsLst>
                  <a:gs pos="0">
                    <a:srgbClr val="FFFFFF"/>
                  </a:gs>
                  <a:gs pos="100000">
                    <a:srgbClr val="FFFFFF"/>
                  </a:gs>
                </a:gsLst>
                <a:lin ang="5400000" scaled="0"/>
              </a:gradFill>
            </a:endParaRPr>
          </a:p>
        </p:txBody>
      </p:sp>
      <p:sp>
        <p:nvSpPr>
          <p:cNvPr id="5" name="Rectangle 4"/>
          <p:cNvSpPr/>
          <p:nvPr/>
        </p:nvSpPr>
        <p:spPr bwMode="auto">
          <a:xfrm>
            <a:off x="3898929" y="5763308"/>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Caching</a:t>
            </a:r>
          </a:p>
        </p:txBody>
      </p:sp>
      <p:sp>
        <p:nvSpPr>
          <p:cNvPr id="6" name="Rectangle 5"/>
          <p:cNvSpPr/>
          <p:nvPr/>
        </p:nvSpPr>
        <p:spPr bwMode="auto">
          <a:xfrm>
            <a:off x="948136" y="5232075"/>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Modules</a:t>
            </a:r>
          </a:p>
        </p:txBody>
      </p:sp>
      <p:sp>
        <p:nvSpPr>
          <p:cNvPr id="7" name="Rectangle 6"/>
          <p:cNvSpPr/>
          <p:nvPr/>
        </p:nvSpPr>
        <p:spPr bwMode="auto">
          <a:xfrm>
            <a:off x="3911208" y="5232075"/>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Handlers</a:t>
            </a:r>
          </a:p>
        </p:txBody>
      </p:sp>
      <p:sp>
        <p:nvSpPr>
          <p:cNvPr id="8" name="Rectangle 7"/>
          <p:cNvSpPr/>
          <p:nvPr/>
        </p:nvSpPr>
        <p:spPr bwMode="auto">
          <a:xfrm>
            <a:off x="948136" y="5780715"/>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Intrinsics</a:t>
            </a:r>
          </a:p>
        </p:txBody>
      </p:sp>
      <p:sp>
        <p:nvSpPr>
          <p:cNvPr id="14" name="Rectangle 13"/>
          <p:cNvSpPr/>
          <p:nvPr/>
        </p:nvSpPr>
        <p:spPr bwMode="auto">
          <a:xfrm>
            <a:off x="6838093" y="5214668"/>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Membership</a:t>
            </a:r>
          </a:p>
        </p:txBody>
      </p:sp>
      <p:sp>
        <p:nvSpPr>
          <p:cNvPr id="16" name="Rectangle 15"/>
          <p:cNvSpPr/>
          <p:nvPr/>
        </p:nvSpPr>
        <p:spPr bwMode="auto">
          <a:xfrm>
            <a:off x="6838093" y="5763308"/>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Etc.</a:t>
            </a:r>
          </a:p>
        </p:txBody>
      </p:sp>
      <p:sp>
        <p:nvSpPr>
          <p:cNvPr id="17" name="TextBox 28"/>
          <p:cNvSpPr txBox="1"/>
          <p:nvPr/>
        </p:nvSpPr>
        <p:spPr>
          <a:xfrm>
            <a:off x="574570" y="4528923"/>
            <a:ext cx="8130153" cy="553998"/>
          </a:xfrm>
          <a:prstGeom prst="rect">
            <a:avLst/>
          </a:prstGeom>
          <a:noFill/>
        </p:spPr>
        <p:txBody>
          <a:bodyPr wrap="square"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3000" dirty="0" smtClean="0">
                <a:solidFill>
                  <a:schemeClr val="bg1">
                    <a:alpha val="99000"/>
                  </a:schemeClr>
                </a:solidFill>
              </a:rPr>
              <a:t>ASP.NET Core</a:t>
            </a:r>
            <a:endParaRPr lang="en-US" sz="3000" dirty="0">
              <a:solidFill>
                <a:schemeClr val="bg1">
                  <a:alpha val="99000"/>
                </a:schemeClr>
              </a:solidFill>
            </a:endParaRPr>
          </a:p>
        </p:txBody>
      </p:sp>
      <p:sp>
        <p:nvSpPr>
          <p:cNvPr id="23" name="Rectangle 22"/>
          <p:cNvSpPr/>
          <p:nvPr/>
        </p:nvSpPr>
        <p:spPr>
          <a:xfrm>
            <a:off x="8263156" y="3456263"/>
            <a:ext cx="3058968" cy="97906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MVC</a:t>
            </a:r>
            <a:endParaRPr lang="en-US" dirty="0">
              <a:gradFill>
                <a:gsLst>
                  <a:gs pos="0">
                    <a:srgbClr val="FFFFFF"/>
                  </a:gs>
                  <a:gs pos="100000">
                    <a:srgbClr val="FFFFFF"/>
                  </a:gs>
                </a:gsLst>
                <a:lin ang="5400000" scaled="0"/>
              </a:gradFill>
            </a:endParaRPr>
          </a:p>
        </p:txBody>
      </p:sp>
      <p:sp>
        <p:nvSpPr>
          <p:cNvPr id="24" name="Rectangle 23"/>
          <p:cNvSpPr/>
          <p:nvPr/>
        </p:nvSpPr>
        <p:spPr>
          <a:xfrm>
            <a:off x="5075339" y="3449433"/>
            <a:ext cx="3114838" cy="98589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Web Pages</a:t>
            </a:r>
            <a:endParaRPr lang="en-US" dirty="0">
              <a:gradFill>
                <a:gsLst>
                  <a:gs pos="0">
                    <a:srgbClr val="FFFFFF"/>
                  </a:gs>
                  <a:gs pos="100000">
                    <a:srgbClr val="FFFFFF"/>
                  </a:gs>
                </a:gsLst>
                <a:lin ang="5400000" scaled="0"/>
              </a:gradFill>
            </a:endParaRPr>
          </a:p>
        </p:txBody>
      </p:sp>
      <p:sp>
        <p:nvSpPr>
          <p:cNvPr id="28" name="Rectangle 27"/>
          <p:cNvSpPr/>
          <p:nvPr/>
        </p:nvSpPr>
        <p:spPr>
          <a:xfrm>
            <a:off x="879902" y="2659310"/>
            <a:ext cx="4124455" cy="176840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Web Forms</a:t>
            </a:r>
            <a:endParaRPr lang="en-US" dirty="0">
              <a:gradFill>
                <a:gsLst>
                  <a:gs pos="0">
                    <a:srgbClr val="FFFFFF"/>
                  </a:gs>
                  <a:gs pos="100000">
                    <a:srgbClr val="FFFFFF"/>
                  </a:gs>
                </a:gsLst>
                <a:lin ang="5400000" scaled="0"/>
              </a:gradFill>
            </a:endParaRPr>
          </a:p>
        </p:txBody>
      </p:sp>
      <p:sp>
        <p:nvSpPr>
          <p:cNvPr id="29" name="Rectangle 28"/>
          <p:cNvSpPr/>
          <p:nvPr/>
        </p:nvSpPr>
        <p:spPr>
          <a:xfrm>
            <a:off x="5075339" y="2659310"/>
            <a:ext cx="4740311" cy="70967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gradFill>
                  <a:gsLst>
                    <a:gs pos="0">
                      <a:srgbClr val="FFFFFF"/>
                    </a:gs>
                    <a:gs pos="100000">
                      <a:srgbClr val="FFFFFF"/>
                    </a:gs>
                  </a:gsLst>
                  <a:lin ang="5400000" scaled="0"/>
                </a:gradFill>
              </a:rPr>
              <a:t>Razor View Engine</a:t>
            </a:r>
          </a:p>
        </p:txBody>
      </p:sp>
      <p:sp>
        <p:nvSpPr>
          <p:cNvPr id="38" name="Rectangle 37"/>
          <p:cNvSpPr/>
          <p:nvPr/>
        </p:nvSpPr>
        <p:spPr bwMode="auto">
          <a:xfrm>
            <a:off x="8414918" y="3881611"/>
            <a:ext cx="1400732" cy="45549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smtClean="0">
                <a:gradFill>
                  <a:gsLst>
                    <a:gs pos="0">
                      <a:srgbClr val="FFFFFF"/>
                    </a:gs>
                    <a:gs pos="100000">
                      <a:srgbClr val="FFFFFF"/>
                    </a:gs>
                  </a:gsLst>
                  <a:lin ang="5400000" scaled="0"/>
                </a:gradFill>
              </a:rPr>
              <a:t>MVC 4</a:t>
            </a:r>
            <a:endParaRPr lang="en-US" sz="2000" dirty="0">
              <a:gradFill>
                <a:gsLst>
                  <a:gs pos="0">
                    <a:srgbClr val="FFFFFF"/>
                  </a:gs>
                  <a:gs pos="100000">
                    <a:srgbClr val="FFFFFF"/>
                  </a:gs>
                </a:gsLst>
                <a:lin ang="5400000" scaled="0"/>
              </a:gradFill>
            </a:endParaRPr>
          </a:p>
        </p:txBody>
      </p:sp>
      <p:sp>
        <p:nvSpPr>
          <p:cNvPr id="40" name="Rectangle 39"/>
          <p:cNvSpPr/>
          <p:nvPr/>
        </p:nvSpPr>
        <p:spPr>
          <a:xfrm>
            <a:off x="879902" y="1703024"/>
            <a:ext cx="8912738" cy="87948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HTML</a:t>
            </a:r>
            <a:endParaRPr lang="en-US" dirty="0">
              <a:gradFill>
                <a:gsLst>
                  <a:gs pos="0">
                    <a:srgbClr val="FFFFFF"/>
                  </a:gs>
                  <a:gs pos="100000">
                    <a:srgbClr val="FFFFFF"/>
                  </a:gs>
                </a:gsLst>
                <a:lin ang="5400000" scaled="0"/>
              </a:gradFill>
            </a:endParaRPr>
          </a:p>
        </p:txBody>
      </p:sp>
      <p:grpSp>
        <p:nvGrpSpPr>
          <p:cNvPr id="9" name="Group 8"/>
          <p:cNvGrpSpPr/>
          <p:nvPr/>
        </p:nvGrpSpPr>
        <p:grpSpPr>
          <a:xfrm>
            <a:off x="9889114" y="1703024"/>
            <a:ext cx="1433010" cy="4829903"/>
            <a:chOff x="9889114" y="1703024"/>
            <a:chExt cx="1433010" cy="4829903"/>
          </a:xfrm>
        </p:grpSpPr>
        <p:sp>
          <p:nvSpPr>
            <p:cNvPr id="35" name="Rectangle 34"/>
            <p:cNvSpPr/>
            <p:nvPr/>
          </p:nvSpPr>
          <p:spPr>
            <a:xfrm>
              <a:off x="9899010" y="4536821"/>
              <a:ext cx="1423114" cy="199610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Self Host</a:t>
              </a:r>
              <a:endParaRPr lang="en-US" dirty="0">
                <a:gradFill>
                  <a:gsLst>
                    <a:gs pos="0">
                      <a:srgbClr val="FFFFFF"/>
                    </a:gs>
                    <a:gs pos="100000">
                      <a:srgbClr val="FFFFFF"/>
                    </a:gs>
                  </a:gsLst>
                  <a:lin ang="5400000" scaled="0"/>
                </a:gradFill>
              </a:endParaRPr>
            </a:p>
          </p:txBody>
        </p:sp>
        <p:sp>
          <p:nvSpPr>
            <p:cNvPr id="37" name="Rectangle 36"/>
            <p:cNvSpPr/>
            <p:nvPr/>
          </p:nvSpPr>
          <p:spPr bwMode="auto">
            <a:xfrm>
              <a:off x="9899010" y="3881611"/>
              <a:ext cx="1357301" cy="45549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smtClean="0">
                  <a:gradFill>
                    <a:gsLst>
                      <a:gs pos="0">
                        <a:srgbClr val="FFFFFF"/>
                      </a:gs>
                      <a:gs pos="100000">
                        <a:srgbClr val="FFFFFF"/>
                      </a:gs>
                    </a:gsLst>
                    <a:lin ang="5400000" scaled="0"/>
                  </a:gradFill>
                </a:rPr>
                <a:t>Web API</a:t>
              </a:r>
              <a:endParaRPr lang="en-US" sz="2000" dirty="0">
                <a:gradFill>
                  <a:gsLst>
                    <a:gs pos="0">
                      <a:srgbClr val="FFFFFF"/>
                    </a:gs>
                    <a:gs pos="100000">
                      <a:srgbClr val="FFFFFF"/>
                    </a:gs>
                  </a:gsLst>
                  <a:lin ang="5400000" scaled="0"/>
                </a:gradFill>
              </a:endParaRPr>
            </a:p>
          </p:txBody>
        </p:sp>
        <p:sp>
          <p:nvSpPr>
            <p:cNvPr id="41" name="Rectangle 40"/>
            <p:cNvSpPr/>
            <p:nvPr/>
          </p:nvSpPr>
          <p:spPr>
            <a:xfrm>
              <a:off x="9899009" y="2659310"/>
              <a:ext cx="1423115" cy="72195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Code</a:t>
              </a:r>
              <a:endParaRPr lang="en-US" dirty="0">
                <a:gradFill>
                  <a:gsLst>
                    <a:gs pos="0">
                      <a:srgbClr val="FFFFFF"/>
                    </a:gs>
                    <a:gs pos="100000">
                      <a:srgbClr val="FFFFFF"/>
                    </a:gs>
                  </a:gsLst>
                  <a:lin ang="5400000" scaled="0"/>
                </a:gradFill>
              </a:endParaRPr>
            </a:p>
          </p:txBody>
        </p:sp>
        <p:sp>
          <p:nvSpPr>
            <p:cNvPr id="42" name="Rectangle 41"/>
            <p:cNvSpPr/>
            <p:nvPr/>
          </p:nvSpPr>
          <p:spPr>
            <a:xfrm>
              <a:off x="9889114" y="2170626"/>
              <a:ext cx="1423115" cy="40878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JSON</a:t>
              </a:r>
              <a:endParaRPr lang="en-US" dirty="0">
                <a:gradFill>
                  <a:gsLst>
                    <a:gs pos="0">
                      <a:srgbClr val="FFFFFF"/>
                    </a:gs>
                    <a:gs pos="100000">
                      <a:srgbClr val="FFFFFF"/>
                    </a:gs>
                  </a:gsLst>
                  <a:lin ang="5400000" scaled="0"/>
                </a:gradFill>
              </a:endParaRPr>
            </a:p>
          </p:txBody>
        </p:sp>
        <p:sp>
          <p:nvSpPr>
            <p:cNvPr id="44" name="Rectangle 43"/>
            <p:cNvSpPr/>
            <p:nvPr/>
          </p:nvSpPr>
          <p:spPr>
            <a:xfrm>
              <a:off x="9899008" y="1703024"/>
              <a:ext cx="1423115" cy="40878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XML</a:t>
              </a:r>
              <a:endParaRPr lang="en-US" dirty="0">
                <a:gradFill>
                  <a:gsLst>
                    <a:gs pos="0">
                      <a:srgbClr val="FFFFFF"/>
                    </a:gs>
                    <a:gs pos="100000">
                      <a:srgbClr val="FFFFFF"/>
                    </a:gs>
                  </a:gsLst>
                  <a:lin ang="5400000" scaled="0"/>
                </a:gradFill>
              </a:endParaRPr>
            </a:p>
          </p:txBody>
        </p:sp>
      </p:grpSp>
    </p:spTree>
    <p:extLst>
      <p:ext uri="{BB962C8B-B14F-4D97-AF65-F5344CB8AC3E}">
        <p14:creationId xmlns:p14="http://schemas.microsoft.com/office/powerpoint/2010/main" val="207885323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100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17096802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1457"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7" name="Text Placeholder 6"/>
          <p:cNvSpPr>
            <a:spLocks noGrp="1"/>
          </p:cNvSpPr>
          <p:nvPr>
            <p:ph type="body" sz="quarter" idx="10"/>
          </p:nvPr>
        </p:nvSpPr>
        <p:spPr/>
        <p:txBody>
          <a:bodyPr/>
          <a:lstStyle/>
          <a:p>
            <a:r>
              <a:rPr lang="en-US" dirty="0" smtClean="0"/>
              <a:t>Where Can </a:t>
            </a:r>
            <a:br>
              <a:rPr lang="en-US" dirty="0" smtClean="0"/>
            </a:br>
            <a:r>
              <a:rPr lang="en-US" dirty="0" smtClean="0"/>
              <a:t>You Get Web API?</a:t>
            </a:r>
            <a:endParaRPr lang="en-US" dirty="0"/>
          </a:p>
        </p:txBody>
      </p:sp>
      <p:grpSp>
        <p:nvGrpSpPr>
          <p:cNvPr id="16" name="Group 15"/>
          <p:cNvGrpSpPr/>
          <p:nvPr/>
        </p:nvGrpSpPr>
        <p:grpSpPr>
          <a:xfrm>
            <a:off x="8170082" y="839952"/>
            <a:ext cx="3176307" cy="3905469"/>
            <a:chOff x="7788166" y="839952"/>
            <a:chExt cx="3176307" cy="3905469"/>
          </a:xfrm>
        </p:grpSpPr>
        <p:sp>
          <p:nvSpPr>
            <p:cNvPr id="17" name="Trapezoid 16"/>
            <p:cNvSpPr/>
            <p:nvPr/>
          </p:nvSpPr>
          <p:spPr bwMode="black">
            <a:xfrm>
              <a:off x="7788166" y="4025813"/>
              <a:ext cx="3176307" cy="719608"/>
            </a:xfrm>
            <a:prstGeom prst="trapezoid">
              <a:avLst/>
            </a:prstGeom>
            <a:noFill/>
            <a:ln w="25400" cap="sq" cmpd="sng" algn="ctr">
              <a:solidFill>
                <a:srgbClr val="FFFFFF">
                  <a:alpha val="30000"/>
                </a:srgbClr>
              </a:solidFill>
              <a:prstDash val="solid"/>
              <a:miter lim="800000"/>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822781" fontAlgn="base">
                <a:spcBef>
                  <a:spcPct val="0"/>
                </a:spcBef>
                <a:spcAft>
                  <a:spcPct val="0"/>
                </a:spcAft>
                <a:defRPr/>
              </a:pPr>
              <a:endParaRPr lang="en-US" kern="0" spc="-135" dirty="0">
                <a:gradFill>
                  <a:gsLst>
                    <a:gs pos="0">
                      <a:srgbClr val="FFFFFF"/>
                    </a:gs>
                    <a:gs pos="100000">
                      <a:srgbClr val="FFFFFF"/>
                    </a:gs>
                  </a:gsLst>
                  <a:lin ang="5400000" scaled="0"/>
                </a:gradFill>
                <a:latin typeface="Segoe Light" pitchFamily="34" charset="0"/>
              </a:endParaRPr>
            </a:p>
          </p:txBody>
        </p:sp>
        <p:sp>
          <p:nvSpPr>
            <p:cNvPr id="18" name="Freeform 6"/>
            <p:cNvSpPr>
              <a:spLocks/>
            </p:cNvSpPr>
            <p:nvPr/>
          </p:nvSpPr>
          <p:spPr bwMode="black">
            <a:xfrm>
              <a:off x="8414040" y="839952"/>
              <a:ext cx="1908911" cy="3173957"/>
            </a:xfrm>
            <a:custGeom>
              <a:avLst/>
              <a:gdLst/>
              <a:ahLst/>
              <a:cxnLst/>
              <a:rect l="l" t="t" r="r" b="b"/>
              <a:pathLst>
                <a:path w="1908911" h="3173957">
                  <a:moveTo>
                    <a:pt x="957345" y="542283"/>
                  </a:moveTo>
                  <a:cubicBezTo>
                    <a:pt x="788835" y="542283"/>
                    <a:pt x="652229" y="678854"/>
                    <a:pt x="652229" y="847320"/>
                  </a:cubicBezTo>
                  <a:cubicBezTo>
                    <a:pt x="652229" y="1015785"/>
                    <a:pt x="788835" y="1152357"/>
                    <a:pt x="957345" y="1152357"/>
                  </a:cubicBezTo>
                  <a:cubicBezTo>
                    <a:pt x="1125855" y="1152357"/>
                    <a:pt x="1262462" y="1015785"/>
                    <a:pt x="1262462" y="847320"/>
                  </a:cubicBezTo>
                  <a:cubicBezTo>
                    <a:pt x="1262462" y="678854"/>
                    <a:pt x="1125855" y="542283"/>
                    <a:pt x="957345" y="542283"/>
                  </a:cubicBezTo>
                  <a:close/>
                  <a:moveTo>
                    <a:pt x="952588" y="0"/>
                  </a:moveTo>
                  <a:cubicBezTo>
                    <a:pt x="1479314" y="0"/>
                    <a:pt x="1908911" y="427300"/>
                    <a:pt x="1908911" y="955801"/>
                  </a:cubicBezTo>
                  <a:cubicBezTo>
                    <a:pt x="1908911" y="967046"/>
                    <a:pt x="1908911" y="978291"/>
                    <a:pt x="1908911" y="989536"/>
                  </a:cubicBezTo>
                  <a:cubicBezTo>
                    <a:pt x="1908911" y="1053257"/>
                    <a:pt x="1901439" y="1120727"/>
                    <a:pt x="1886499" y="1191941"/>
                  </a:cubicBezTo>
                  <a:cubicBezTo>
                    <a:pt x="1886490" y="1191964"/>
                    <a:pt x="1883885" y="1198763"/>
                    <a:pt x="1127211" y="3173957"/>
                  </a:cubicBezTo>
                  <a:lnTo>
                    <a:pt x="771911" y="3173957"/>
                  </a:lnTo>
                  <a:cubicBezTo>
                    <a:pt x="641191" y="2829987"/>
                    <a:pt x="413896" y="2231895"/>
                    <a:pt x="18678" y="1191941"/>
                  </a:cubicBezTo>
                  <a:cubicBezTo>
                    <a:pt x="7472" y="1135720"/>
                    <a:pt x="0" y="1079495"/>
                    <a:pt x="0" y="1027019"/>
                  </a:cubicBezTo>
                  <a:cubicBezTo>
                    <a:pt x="0" y="1004529"/>
                    <a:pt x="0" y="982039"/>
                    <a:pt x="0" y="955801"/>
                  </a:cubicBezTo>
                  <a:cubicBezTo>
                    <a:pt x="0" y="427300"/>
                    <a:pt x="425862" y="0"/>
                    <a:pt x="952588" y="0"/>
                  </a:cubicBezTo>
                  <a:close/>
                </a:path>
              </a:pathLst>
            </a:custGeom>
            <a:solidFill>
              <a:srgbClr val="FFFFFF">
                <a:alpha val="30000"/>
              </a:srgbClr>
            </a:solidFill>
            <a:ln>
              <a:noFill/>
              <a:headEnd type="none" w="med" len="med"/>
              <a:tailEnd type="none" w="med" len="med"/>
            </a:ln>
            <a:extLst>
              <a:ext uri="{91240B29-F687-4F45-9708-019B960494DF}">
                <a14:hiddenLine xmlns:a14="http://schemas.microsoft.com/office/drawing/2010/main" w="9525">
                  <a:solidFill>
                    <a:srgbClr val="000000"/>
                  </a:solidFill>
                  <a:round/>
                  <a:headEnd/>
                  <a:tailEnd/>
                </a14:hiddenLine>
              </a:ext>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a:solidFill>
                  <a:schemeClr val="tx1">
                    <a:lumMod val="50000"/>
                  </a:schemeClr>
                </a:solidFill>
                <a:latin typeface="Segoe Light" pitchFamily="34" charset="0"/>
              </a:endParaRPr>
            </a:p>
          </p:txBody>
        </p:sp>
        <p:sp>
          <p:nvSpPr>
            <p:cNvPr id="19" name="Freeform 6"/>
            <p:cNvSpPr>
              <a:spLocks/>
            </p:cNvSpPr>
            <p:nvPr/>
          </p:nvSpPr>
          <p:spPr bwMode="black">
            <a:xfrm>
              <a:off x="9195000" y="4040678"/>
              <a:ext cx="337130" cy="441777"/>
            </a:xfrm>
            <a:custGeom>
              <a:avLst/>
              <a:gdLst/>
              <a:ahLst/>
              <a:cxnLst/>
              <a:rect l="l" t="t" r="r" b="b"/>
              <a:pathLst>
                <a:path w="337130" h="441777">
                  <a:moveTo>
                    <a:pt x="0" y="0"/>
                  </a:moveTo>
                  <a:lnTo>
                    <a:pt x="337130" y="0"/>
                  </a:lnTo>
                  <a:cubicBezTo>
                    <a:pt x="284415" y="137603"/>
                    <a:pt x="228085" y="284647"/>
                    <a:pt x="167890" y="441777"/>
                  </a:cubicBezTo>
                  <a:cubicBezTo>
                    <a:pt x="167885" y="441765"/>
                    <a:pt x="167009" y="439458"/>
                    <a:pt x="0" y="0"/>
                  </a:cubicBezTo>
                  <a:close/>
                </a:path>
              </a:pathLst>
            </a:custGeom>
            <a:solidFill>
              <a:srgbClr val="FFFFFF">
                <a:alpha val="30000"/>
              </a:srgbClr>
            </a:solidFill>
            <a:ln>
              <a:noFill/>
              <a:headEnd type="none" w="med" len="med"/>
              <a:tailEnd type="none" w="med" len="med"/>
            </a:ln>
            <a:extLst>
              <a:ext uri="{91240B29-F687-4F45-9708-019B960494DF}">
                <a14:hiddenLine xmlns:a14="http://schemas.microsoft.com/office/drawing/2010/main" w="9525">
                  <a:solidFill>
                    <a:srgbClr val="000000"/>
                  </a:solidFill>
                  <a:round/>
                  <a:headEnd/>
                  <a:tailEnd/>
                </a14:hiddenLine>
              </a:ext>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a:solidFill>
                  <a:schemeClr val="tx1">
                    <a:lumMod val="50000"/>
                  </a:schemeClr>
                </a:solidFill>
                <a:latin typeface="Segoe Light" pitchFamily="34" charset="0"/>
              </a:endParaRPr>
            </a:p>
          </p:txBody>
        </p:sp>
      </p:grpSp>
    </p:spTree>
    <p:extLst>
      <p:ext uri="{BB962C8B-B14F-4D97-AF65-F5344CB8AC3E}">
        <p14:creationId xmlns:p14="http://schemas.microsoft.com/office/powerpoint/2010/main" val="20215049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9228852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2481"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6" name="Title 5"/>
          <p:cNvSpPr>
            <a:spLocks noGrp="1"/>
          </p:cNvSpPr>
          <p:nvPr>
            <p:ph type="title"/>
            <p:custDataLst>
              <p:tags r:id="rId3"/>
            </p:custDataLst>
          </p:nvPr>
        </p:nvSpPr>
        <p:spPr/>
        <p:txBody>
          <a:bodyPr/>
          <a:lstStyle/>
          <a:p>
            <a:r>
              <a:rPr lang="en-US" dirty="0" smtClean="0"/>
              <a:t>Homepage: asp.net/web-</a:t>
            </a:r>
            <a:r>
              <a:rPr lang="en-US" dirty="0" err="1" smtClean="0"/>
              <a:t>api</a:t>
            </a:r>
            <a:endParaRPr lang="en-US" dirty="0"/>
          </a:p>
        </p:txBody>
      </p:sp>
      <p:pic>
        <p:nvPicPr>
          <p:cNvPr id="7" name="Picture 5"/>
          <p:cNvPicPr>
            <a:picLocks noChangeAspect="1" noChangeArrowheads="1"/>
          </p:cNvPicPr>
          <p:nvPr/>
        </p:nvPicPr>
        <p:blipFill rotWithShape="1">
          <a:blip r:embed="rId8">
            <a:extLst>
              <a:ext uri="{28A0092B-C50C-407E-A947-70E740481C1C}">
                <a14:useLocalDpi xmlns:a14="http://schemas.microsoft.com/office/drawing/2010/main" val="0"/>
              </a:ext>
            </a:extLst>
          </a:blip>
          <a:srcRect l="703" t="8633" r="2659" b="32339"/>
          <a:stretch/>
        </p:blipFill>
        <p:spPr bwMode="auto">
          <a:xfrm>
            <a:off x="517525" y="1141413"/>
            <a:ext cx="8725167" cy="51085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2175560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36102416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3505"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0" y="0"/>
                        <a:ext cx="158750" cy="158750"/>
                      </a:xfrm>
                      <a:prstGeom prst="rect">
                        <a:avLst/>
                      </a:prstGeom>
                    </p:spPr>
                  </p:pic>
                </p:oleObj>
              </mc:Fallback>
            </mc:AlternateContent>
          </a:graphicData>
        </a:graphic>
      </p:graphicFrame>
      <p:sp>
        <p:nvSpPr>
          <p:cNvPr id="6" name="Title 5"/>
          <p:cNvSpPr>
            <a:spLocks noGrp="1"/>
          </p:cNvSpPr>
          <p:nvPr>
            <p:ph type="title"/>
            <p:custDataLst>
              <p:tags r:id="rId3"/>
            </p:custDataLst>
          </p:nvPr>
        </p:nvSpPr>
        <p:spPr/>
        <p:txBody>
          <a:bodyPr/>
          <a:lstStyle/>
          <a:p>
            <a:r>
              <a:rPr lang="en-US" dirty="0" smtClean="0"/>
              <a:t>Find Us on Nuget</a:t>
            </a:r>
            <a:endParaRPr lang="en-US" dirty="0"/>
          </a:p>
        </p:txBody>
      </p:sp>
      <p:sp>
        <p:nvSpPr>
          <p:cNvPr id="8" name="Content Placeholder 2"/>
          <p:cNvSpPr txBox="1">
            <a:spLocks/>
          </p:cNvSpPr>
          <p:nvPr>
            <p:custDataLst>
              <p:tags r:id="rId4"/>
            </p:custDataLst>
          </p:nvPr>
        </p:nvSpPr>
        <p:spPr>
          <a:xfrm>
            <a:off x="6743699" y="1422162"/>
            <a:ext cx="4932363" cy="4324261"/>
          </a:xfrm>
          <a:prstGeom prst="rect">
            <a:avLst/>
          </a:prstGeom>
        </p:spPr>
        <p:txBody>
          <a:bodyPr lIns="0" rIns="0">
            <a:spAutoFit/>
          </a:bodyPr>
          <a:lstStyle>
            <a:lvl1pPr marL="347663" indent="-347663" algn="l" defTabSz="914363" rtl="0" eaLnBrk="1" latinLnBrk="0" hangingPunct="1">
              <a:lnSpc>
                <a:spcPct val="100000"/>
              </a:lnSpc>
              <a:spcBef>
                <a:spcPts val="1200"/>
              </a:spcBef>
              <a:spcAft>
                <a:spcPts val="0"/>
              </a:spcAft>
              <a:buSzPct val="80000"/>
              <a:buFont typeface="Arial" pitchFamily="34" charset="0"/>
              <a:buChar char="•"/>
              <a:defRPr sz="3200" kern="1200">
                <a:ln>
                  <a:solidFill>
                    <a:schemeClr val="bg1">
                      <a:alpha val="0"/>
                    </a:schemeClr>
                  </a:solidFill>
                </a:ln>
                <a:solidFill>
                  <a:srgbClr val="595959"/>
                </a:solidFill>
                <a:latin typeface="+mn-lt"/>
                <a:ea typeface="+mn-ea"/>
                <a:cs typeface="+mn-cs"/>
              </a:defRPr>
            </a:lvl1pPr>
            <a:lvl2pPr marL="804863" indent="-344488" algn="l" defTabSz="914363" rtl="0" eaLnBrk="1" latinLnBrk="0" hangingPunct="1">
              <a:lnSpc>
                <a:spcPct val="100000"/>
              </a:lnSpc>
              <a:spcBef>
                <a:spcPts val="600"/>
              </a:spcBef>
              <a:spcAft>
                <a:spcPts val="0"/>
              </a:spcAft>
              <a:buSzPct val="80000"/>
              <a:buFont typeface="Arial" pitchFamily="34" charset="0"/>
              <a:buChar char="•"/>
              <a:defRPr sz="2800" kern="1200">
                <a:ln>
                  <a:solidFill>
                    <a:schemeClr val="bg1">
                      <a:alpha val="0"/>
                    </a:schemeClr>
                  </a:solidFill>
                </a:ln>
                <a:solidFill>
                  <a:srgbClr val="595959"/>
                </a:solidFill>
                <a:latin typeface="+mn-lt"/>
                <a:ea typeface="+mn-ea"/>
                <a:cs typeface="+mn-cs"/>
              </a:defRPr>
            </a:lvl2pPr>
            <a:lvl3pPr marL="1258888" indent="-344488" algn="l" defTabSz="914363" rtl="0" eaLnBrk="1" latinLnBrk="0" hangingPunct="1">
              <a:lnSpc>
                <a:spcPct val="100000"/>
              </a:lnSpc>
              <a:spcBef>
                <a:spcPts val="300"/>
              </a:spcBef>
              <a:spcAft>
                <a:spcPts val="0"/>
              </a:spcAft>
              <a:buSzPct val="80000"/>
              <a:buFont typeface="Arial" pitchFamily="34" charset="0"/>
              <a:buChar char="•"/>
              <a:defRPr sz="2400" kern="1200">
                <a:ln>
                  <a:solidFill>
                    <a:schemeClr val="bg1">
                      <a:alpha val="0"/>
                    </a:schemeClr>
                  </a:solidFill>
                </a:ln>
                <a:solidFill>
                  <a:srgbClr val="595959"/>
                </a:solidFill>
                <a:latin typeface="+mn-lt"/>
                <a:ea typeface="+mn-ea"/>
                <a:cs typeface="+mn-cs"/>
              </a:defRPr>
            </a:lvl3pPr>
            <a:lvl4pPr marL="1716088" indent="-346075" algn="l" defTabSz="914363" rtl="0" eaLnBrk="1" latinLnBrk="0" hangingPunct="1">
              <a:lnSpc>
                <a:spcPct val="100000"/>
              </a:lnSpc>
              <a:spcBef>
                <a:spcPts val="300"/>
              </a:spcBef>
              <a:spcAft>
                <a:spcPts val="0"/>
              </a:spcAft>
              <a:buSzPct val="80000"/>
              <a:buFont typeface="Arial" pitchFamily="34" charset="0"/>
              <a:buChar char="•"/>
              <a:defRPr sz="2000" kern="1200">
                <a:ln>
                  <a:solidFill>
                    <a:schemeClr val="bg1">
                      <a:alpha val="0"/>
                    </a:schemeClr>
                  </a:solidFill>
                </a:ln>
                <a:solidFill>
                  <a:srgbClr val="595959"/>
                </a:solidFill>
                <a:latin typeface="+mn-lt"/>
                <a:ea typeface="+mn-ea"/>
                <a:cs typeface="+mn-cs"/>
              </a:defRPr>
            </a:lvl4pPr>
            <a:lvl5pPr marL="2176463" indent="-347663" algn="l" defTabSz="914363" rtl="0" eaLnBrk="1" latinLnBrk="0" hangingPunct="1">
              <a:lnSpc>
                <a:spcPct val="100000"/>
              </a:lnSpc>
              <a:spcBef>
                <a:spcPts val="300"/>
              </a:spcBef>
              <a:spcAft>
                <a:spcPts val="0"/>
              </a:spcAft>
              <a:buSzPct val="80000"/>
              <a:buFont typeface="Arial" pitchFamily="34" charset="0"/>
              <a:buChar char="•"/>
              <a:defRPr sz="2000" kern="1200">
                <a:ln>
                  <a:solidFill>
                    <a:schemeClr val="bg1">
                      <a:alpha val="0"/>
                    </a:schemeClr>
                  </a:solidFill>
                </a:ln>
                <a:solidFill>
                  <a:srgbClr val="595959"/>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Aft>
                <a:spcPts val="1200"/>
              </a:spcAft>
              <a:buNone/>
            </a:pPr>
            <a:r>
              <a:rPr lang="en-US" sz="4000" dirty="0" smtClean="0">
                <a:solidFill>
                  <a:schemeClr val="accent2"/>
                </a:solidFill>
                <a:latin typeface="Segoe UI Light" pitchFamily="34" charset="0"/>
              </a:rPr>
              <a:t>Nuget Packages</a:t>
            </a:r>
          </a:p>
          <a:p>
            <a:pPr marL="0" lvl="1" indent="0">
              <a:spcAft>
                <a:spcPts val="1200"/>
              </a:spcAft>
              <a:buNone/>
            </a:pPr>
            <a:r>
              <a:rPr lang="en-US" sz="3200" dirty="0" smtClean="0"/>
              <a:t>WebApi</a:t>
            </a:r>
            <a:endParaRPr lang="en-US" sz="3200" dirty="0"/>
          </a:p>
          <a:p>
            <a:pPr marL="0" lvl="1" indent="0">
              <a:spcAft>
                <a:spcPts val="1200"/>
              </a:spcAft>
              <a:buNone/>
            </a:pPr>
            <a:r>
              <a:rPr lang="en-US" sz="3200" dirty="0" err="1" smtClean="0"/>
              <a:t>WebApi.OData</a:t>
            </a:r>
            <a:endParaRPr lang="en-US" sz="3200" dirty="0"/>
          </a:p>
          <a:p>
            <a:pPr marL="0" lvl="1" indent="0">
              <a:spcAft>
                <a:spcPts val="1200"/>
              </a:spcAft>
              <a:buNone/>
            </a:pPr>
            <a:r>
              <a:rPr lang="en-US" sz="3200" dirty="0" err="1" smtClean="0"/>
              <a:t>JsonValue</a:t>
            </a:r>
            <a:endParaRPr lang="en-US" sz="3200" dirty="0"/>
          </a:p>
          <a:p>
            <a:pPr marL="0" lvl="1" indent="0">
              <a:spcAft>
                <a:spcPts val="1200"/>
              </a:spcAft>
              <a:buNone/>
            </a:pPr>
            <a:r>
              <a:rPr lang="en-US" sz="3200" dirty="0" err="1" smtClean="0"/>
              <a:t>HttpClient</a:t>
            </a:r>
            <a:endParaRPr lang="en-US" sz="3200" dirty="0"/>
          </a:p>
          <a:p>
            <a:pPr marL="0" lvl="1" indent="0">
              <a:spcAft>
                <a:spcPts val="1200"/>
              </a:spcAft>
              <a:buNone/>
            </a:pPr>
            <a:r>
              <a:rPr lang="en-US" sz="3200" dirty="0" err="1" smtClean="0"/>
              <a:t>WebApi.Enhancements</a:t>
            </a:r>
            <a:endParaRPr lang="en-US" sz="3200" dirty="0"/>
          </a:p>
        </p:txBody>
      </p:sp>
      <p:pic>
        <p:nvPicPr>
          <p:cNvPr id="9" name="Picture 2"/>
          <p:cNvPicPr>
            <a:picLocks noChangeAspect="1" noChangeArrowheads="1"/>
          </p:cNvPicPr>
          <p:nvPr>
            <p:custDataLst>
              <p:tags r:id="rId5"/>
            </p:custDataLst>
          </p:nvPr>
        </p:nvPicPr>
        <p:blipFill>
          <a:blip r:embed="rId10">
            <a:extLst>
              <a:ext uri="{28A0092B-C50C-407E-A947-70E740481C1C}">
                <a14:useLocalDpi xmlns:a14="http://schemas.microsoft.com/office/drawing/2010/main" val="0"/>
              </a:ext>
            </a:extLst>
          </a:blip>
          <a:srcRect/>
          <a:stretch>
            <a:fillRect/>
          </a:stretch>
        </p:blipFill>
        <p:spPr bwMode="auto">
          <a:xfrm>
            <a:off x="517525" y="1420813"/>
            <a:ext cx="5556704" cy="39546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0535685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404209196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9786"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smtClean="0"/>
              <a:t>Building a Read Only Web API</a:t>
            </a:r>
            <a:endParaRPr lang="en-US" dirty="0"/>
          </a:p>
        </p:txBody>
      </p:sp>
      <p:sp>
        <p:nvSpPr>
          <p:cNvPr id="11" name="Content Placeholder 10"/>
          <p:cNvSpPr>
            <a:spLocks noGrp="1"/>
          </p:cNvSpPr>
          <p:nvPr>
            <p:ph type="body" sz="quarter" idx="10"/>
            <p:custDataLst>
              <p:tags r:id="rId4"/>
            </p:custDataLst>
          </p:nvPr>
        </p:nvSpPr>
        <p:spPr>
          <a:xfrm>
            <a:off x="519112" y="1422157"/>
            <a:ext cx="11149013" cy="2369880"/>
          </a:xfrm>
        </p:spPr>
        <p:txBody>
          <a:bodyPr/>
          <a:lstStyle/>
          <a:p>
            <a:pPr>
              <a:spcAft>
                <a:spcPts val="1200"/>
              </a:spcAft>
            </a:pPr>
            <a:r>
              <a:rPr lang="en-US" sz="4000" dirty="0" smtClean="0">
                <a:gradFill>
                  <a:gsLst>
                    <a:gs pos="0">
                      <a:schemeClr val="accent2"/>
                    </a:gs>
                    <a:gs pos="100000">
                      <a:schemeClr val="accent2"/>
                    </a:gs>
                  </a:gsLst>
                  <a:lin ang="5400000" scaled="0"/>
                </a:gradFill>
                <a:latin typeface="Segoe UI Light" pitchFamily="34" charset="0"/>
              </a:rPr>
              <a:t>Why?</a:t>
            </a:r>
          </a:p>
          <a:p>
            <a:pPr>
              <a:spcAft>
                <a:spcPts val="1200"/>
              </a:spcAft>
            </a:pPr>
            <a:r>
              <a:rPr lang="en-US" sz="4000" dirty="0" smtClean="0">
                <a:latin typeface="Segoe UI Light" pitchFamily="34" charset="0"/>
              </a:rPr>
              <a:t>Allow browser </a:t>
            </a:r>
            <a:r>
              <a:rPr lang="en-US" sz="4000" smtClean="0">
                <a:latin typeface="Segoe UI Light" pitchFamily="34" charset="0"/>
              </a:rPr>
              <a:t>or other clients </a:t>
            </a:r>
            <a:r>
              <a:rPr lang="en-US" sz="4000" dirty="0" smtClean="0">
                <a:latin typeface="Segoe UI Light" pitchFamily="34" charset="0"/>
              </a:rPr>
              <a:t>to </a:t>
            </a:r>
            <a:br>
              <a:rPr lang="en-US" sz="4000" dirty="0" smtClean="0">
                <a:latin typeface="Segoe UI Light" pitchFamily="34" charset="0"/>
              </a:rPr>
            </a:br>
            <a:r>
              <a:rPr lang="en-US" sz="4000" dirty="0" smtClean="0">
                <a:latin typeface="Segoe UI Light" pitchFamily="34" charset="0"/>
              </a:rPr>
              <a:t>easily retrieve information </a:t>
            </a:r>
            <a:br>
              <a:rPr lang="en-US" sz="4000" dirty="0" smtClean="0">
                <a:latin typeface="Segoe UI Light" pitchFamily="34" charset="0"/>
              </a:rPr>
            </a:br>
            <a:r>
              <a:rPr lang="en-US" sz="4000" dirty="0" smtClean="0">
                <a:latin typeface="Segoe UI Light" pitchFamily="34" charset="0"/>
              </a:rPr>
              <a:t>from your system</a:t>
            </a:r>
            <a:endParaRPr lang="en-US" sz="4000" dirty="0">
              <a:latin typeface="Segoe UI Light" pitchFamily="34" charset="0"/>
            </a:endParaRPr>
          </a:p>
        </p:txBody>
      </p:sp>
      <p:sp>
        <p:nvSpPr>
          <p:cNvPr id="6" name="Rectangle 5"/>
          <p:cNvSpPr/>
          <p:nvPr/>
        </p:nvSpPr>
        <p:spPr bwMode="auto">
          <a:xfrm>
            <a:off x="9072081" y="1141413"/>
            <a:ext cx="2603981" cy="571658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8" name="Freeform 9"/>
          <p:cNvSpPr>
            <a:spLocks noEditPoints="1"/>
          </p:cNvSpPr>
          <p:nvPr/>
        </p:nvSpPr>
        <p:spPr bwMode="black">
          <a:xfrm>
            <a:off x="9526363" y="1591438"/>
            <a:ext cx="1695417" cy="1694975"/>
          </a:xfrm>
          <a:custGeom>
            <a:avLst/>
            <a:gdLst>
              <a:gd name="T0" fmla="*/ 204 w 300"/>
              <a:gd name="T1" fmla="*/ 62 h 300"/>
              <a:gd name="T2" fmla="*/ 232 w 300"/>
              <a:gd name="T3" fmla="*/ 76 h 300"/>
              <a:gd name="T4" fmla="*/ 204 w 300"/>
              <a:gd name="T5" fmla="*/ 89 h 300"/>
              <a:gd name="T6" fmla="*/ 174 w 300"/>
              <a:gd name="T7" fmla="*/ 83 h 300"/>
              <a:gd name="T8" fmla="*/ 178 w 300"/>
              <a:gd name="T9" fmla="*/ 49 h 300"/>
              <a:gd name="T10" fmla="*/ 150 w 300"/>
              <a:gd name="T11" fmla="*/ 35 h 300"/>
              <a:gd name="T12" fmla="*/ 178 w 300"/>
              <a:gd name="T13" fmla="*/ 22 h 300"/>
              <a:gd name="T14" fmla="*/ 208 w 300"/>
              <a:gd name="T15" fmla="*/ 28 h 300"/>
              <a:gd name="T16" fmla="*/ 288 w 300"/>
              <a:gd name="T17" fmla="*/ 199 h 300"/>
              <a:gd name="T18" fmla="*/ 266 w 300"/>
              <a:gd name="T19" fmla="*/ 219 h 300"/>
              <a:gd name="T20" fmla="*/ 169 w 300"/>
              <a:gd name="T21" fmla="*/ 242 h 300"/>
              <a:gd name="T22" fmla="*/ 47 w 300"/>
              <a:gd name="T23" fmla="*/ 175 h 300"/>
              <a:gd name="T24" fmla="*/ 130 w 300"/>
              <a:gd name="T25" fmla="*/ 160 h 300"/>
              <a:gd name="T26" fmla="*/ 198 w 300"/>
              <a:gd name="T27" fmla="*/ 158 h 300"/>
              <a:gd name="T28" fmla="*/ 201 w 300"/>
              <a:gd name="T29" fmla="*/ 183 h 300"/>
              <a:gd name="T30" fmla="*/ 144 w 300"/>
              <a:gd name="T31" fmla="*/ 190 h 300"/>
              <a:gd name="T32" fmla="*/ 223 w 300"/>
              <a:gd name="T33" fmla="*/ 207 h 300"/>
              <a:gd name="T34" fmla="*/ 287 w 300"/>
              <a:gd name="T35" fmla="*/ 182 h 300"/>
              <a:gd name="T36" fmla="*/ 34 w 300"/>
              <a:gd name="T37" fmla="*/ 162 h 300"/>
              <a:gd name="T38" fmla="*/ 0 w 300"/>
              <a:gd name="T39" fmla="*/ 228 h 300"/>
              <a:gd name="T40" fmla="*/ 39 w 300"/>
              <a:gd name="T41" fmla="*/ 224 h 300"/>
              <a:gd name="T42" fmla="*/ 34 w 300"/>
              <a:gd name="T43" fmla="*/ 162 h 300"/>
              <a:gd name="T44" fmla="*/ 300 w 300"/>
              <a:gd name="T45" fmla="*/ 294 h 300"/>
              <a:gd name="T46" fmla="*/ 0 w 300"/>
              <a:gd name="T47" fmla="*/ 300 h 300"/>
              <a:gd name="T48" fmla="*/ 270 w 300"/>
              <a:gd name="T49" fmla="*/ 86 h 300"/>
              <a:gd name="T50" fmla="*/ 274 w 300"/>
              <a:gd name="T51" fmla="*/ 68 h 300"/>
              <a:gd name="T52" fmla="*/ 296 w 300"/>
              <a:gd name="T53" fmla="*/ 44 h 300"/>
              <a:gd name="T54" fmla="*/ 290 w 300"/>
              <a:gd name="T55" fmla="*/ 9 h 300"/>
              <a:gd name="T56" fmla="*/ 239 w 300"/>
              <a:gd name="T57" fmla="*/ 8 h 300"/>
              <a:gd name="T58" fmla="*/ 242 w 300"/>
              <a:gd name="T59" fmla="*/ 34 h 300"/>
              <a:gd name="T60" fmla="*/ 264 w 300"/>
              <a:gd name="T61" fmla="*/ 11 h 300"/>
              <a:gd name="T62" fmla="*/ 286 w 300"/>
              <a:gd name="T63" fmla="*/ 31 h 300"/>
              <a:gd name="T64" fmla="*/ 274 w 300"/>
              <a:gd name="T65" fmla="*/ 50 h 300"/>
              <a:gd name="T66" fmla="*/ 259 w 300"/>
              <a:gd name="T67" fmla="*/ 68 h 300"/>
              <a:gd name="T68" fmla="*/ 256 w 300"/>
              <a:gd name="T69" fmla="*/ 86 h 300"/>
              <a:gd name="T70" fmla="*/ 270 w 300"/>
              <a:gd name="T71" fmla="*/ 111 h 300"/>
              <a:gd name="T72" fmla="*/ 256 w 300"/>
              <a:gd name="T73" fmla="*/ 98 h 300"/>
              <a:gd name="T74" fmla="*/ 270 w 300"/>
              <a:gd name="T75" fmla="*/ 111 h 300"/>
              <a:gd name="T76" fmla="*/ 75 w 300"/>
              <a:gd name="T77" fmla="*/ 111 h 300"/>
              <a:gd name="T78" fmla="*/ 98 w 300"/>
              <a:gd name="T79" fmla="*/ 0 h 300"/>
              <a:gd name="T80" fmla="*/ 153 w 300"/>
              <a:gd name="T81" fmla="*/ 111 h 300"/>
              <a:gd name="T82" fmla="*/ 126 w 300"/>
              <a:gd name="T83" fmla="*/ 76 h 300"/>
              <a:gd name="T84" fmla="*/ 123 w 300"/>
              <a:gd name="T85" fmla="*/ 65 h 300"/>
              <a:gd name="T86" fmla="*/ 106 w 300"/>
              <a:gd name="T87" fmla="*/ 13 h 300"/>
              <a:gd name="T88" fmla="*/ 100 w 300"/>
              <a:gd name="T89" fmla="*/ 33 h 300"/>
              <a:gd name="T90" fmla="*/ 123 w 300"/>
              <a:gd name="T91" fmla="*/ 65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0" h="300">
                <a:moveTo>
                  <a:pt x="174" y="83"/>
                </a:moveTo>
                <a:cubicBezTo>
                  <a:pt x="204" y="62"/>
                  <a:pt x="204" y="62"/>
                  <a:pt x="204" y="62"/>
                </a:cubicBezTo>
                <a:cubicBezTo>
                  <a:pt x="204" y="76"/>
                  <a:pt x="204" y="76"/>
                  <a:pt x="204" y="76"/>
                </a:cubicBezTo>
                <a:cubicBezTo>
                  <a:pt x="232" y="76"/>
                  <a:pt x="232" y="76"/>
                  <a:pt x="232" y="76"/>
                </a:cubicBezTo>
                <a:cubicBezTo>
                  <a:pt x="232" y="89"/>
                  <a:pt x="232" y="89"/>
                  <a:pt x="232" y="89"/>
                </a:cubicBezTo>
                <a:cubicBezTo>
                  <a:pt x="204" y="89"/>
                  <a:pt x="204" y="89"/>
                  <a:pt x="204" y="89"/>
                </a:cubicBezTo>
                <a:cubicBezTo>
                  <a:pt x="204" y="104"/>
                  <a:pt x="204" y="104"/>
                  <a:pt x="204" y="104"/>
                </a:cubicBezTo>
                <a:lnTo>
                  <a:pt x="174" y="83"/>
                </a:lnTo>
                <a:close/>
                <a:moveTo>
                  <a:pt x="208" y="28"/>
                </a:moveTo>
                <a:cubicBezTo>
                  <a:pt x="178" y="49"/>
                  <a:pt x="178" y="49"/>
                  <a:pt x="178" y="49"/>
                </a:cubicBezTo>
                <a:cubicBezTo>
                  <a:pt x="178" y="35"/>
                  <a:pt x="178" y="35"/>
                  <a:pt x="178" y="35"/>
                </a:cubicBezTo>
                <a:cubicBezTo>
                  <a:pt x="150" y="35"/>
                  <a:pt x="150" y="35"/>
                  <a:pt x="150" y="35"/>
                </a:cubicBezTo>
                <a:cubicBezTo>
                  <a:pt x="150" y="22"/>
                  <a:pt x="150" y="22"/>
                  <a:pt x="150" y="22"/>
                </a:cubicBezTo>
                <a:cubicBezTo>
                  <a:pt x="178" y="22"/>
                  <a:pt x="178" y="22"/>
                  <a:pt x="178" y="22"/>
                </a:cubicBezTo>
                <a:cubicBezTo>
                  <a:pt x="178" y="7"/>
                  <a:pt x="178" y="7"/>
                  <a:pt x="178" y="7"/>
                </a:cubicBezTo>
                <a:lnTo>
                  <a:pt x="208" y="28"/>
                </a:lnTo>
                <a:close/>
                <a:moveTo>
                  <a:pt x="300" y="190"/>
                </a:moveTo>
                <a:cubicBezTo>
                  <a:pt x="300" y="190"/>
                  <a:pt x="299" y="191"/>
                  <a:pt x="288" y="199"/>
                </a:cubicBezTo>
                <a:cubicBezTo>
                  <a:pt x="288" y="199"/>
                  <a:pt x="286" y="203"/>
                  <a:pt x="285" y="203"/>
                </a:cubicBezTo>
                <a:cubicBezTo>
                  <a:pt x="280" y="207"/>
                  <a:pt x="275" y="212"/>
                  <a:pt x="266" y="219"/>
                </a:cubicBezTo>
                <a:cubicBezTo>
                  <a:pt x="257" y="219"/>
                  <a:pt x="238" y="228"/>
                  <a:pt x="229" y="233"/>
                </a:cubicBezTo>
                <a:cubicBezTo>
                  <a:pt x="212" y="233"/>
                  <a:pt x="187" y="237"/>
                  <a:pt x="169" y="242"/>
                </a:cubicBezTo>
                <a:cubicBezTo>
                  <a:pt x="143" y="237"/>
                  <a:pt x="140" y="244"/>
                  <a:pt x="47" y="220"/>
                </a:cubicBezTo>
                <a:cubicBezTo>
                  <a:pt x="47" y="220"/>
                  <a:pt x="47" y="183"/>
                  <a:pt x="47" y="175"/>
                </a:cubicBezTo>
                <a:cubicBezTo>
                  <a:pt x="64" y="170"/>
                  <a:pt x="69" y="160"/>
                  <a:pt x="89" y="157"/>
                </a:cubicBezTo>
                <a:cubicBezTo>
                  <a:pt x="103" y="155"/>
                  <a:pt x="116" y="156"/>
                  <a:pt x="130" y="160"/>
                </a:cubicBezTo>
                <a:cubicBezTo>
                  <a:pt x="139" y="163"/>
                  <a:pt x="148" y="164"/>
                  <a:pt x="163" y="163"/>
                </a:cubicBezTo>
                <a:cubicBezTo>
                  <a:pt x="176" y="162"/>
                  <a:pt x="181" y="158"/>
                  <a:pt x="198" y="158"/>
                </a:cubicBezTo>
                <a:cubicBezTo>
                  <a:pt x="209" y="158"/>
                  <a:pt x="220" y="165"/>
                  <a:pt x="219" y="171"/>
                </a:cubicBezTo>
                <a:cubicBezTo>
                  <a:pt x="219" y="177"/>
                  <a:pt x="208" y="183"/>
                  <a:pt x="201" y="183"/>
                </a:cubicBezTo>
                <a:cubicBezTo>
                  <a:pt x="185" y="184"/>
                  <a:pt x="189" y="183"/>
                  <a:pt x="174" y="183"/>
                </a:cubicBezTo>
                <a:cubicBezTo>
                  <a:pt x="156" y="182"/>
                  <a:pt x="155" y="186"/>
                  <a:pt x="144" y="190"/>
                </a:cubicBezTo>
                <a:cubicBezTo>
                  <a:pt x="155" y="194"/>
                  <a:pt x="162" y="198"/>
                  <a:pt x="177" y="206"/>
                </a:cubicBezTo>
                <a:cubicBezTo>
                  <a:pt x="193" y="204"/>
                  <a:pt x="209" y="206"/>
                  <a:pt x="223" y="207"/>
                </a:cubicBezTo>
                <a:cubicBezTo>
                  <a:pt x="235" y="204"/>
                  <a:pt x="241" y="199"/>
                  <a:pt x="255" y="198"/>
                </a:cubicBezTo>
                <a:cubicBezTo>
                  <a:pt x="264" y="191"/>
                  <a:pt x="276" y="180"/>
                  <a:pt x="287" y="182"/>
                </a:cubicBezTo>
                <a:cubicBezTo>
                  <a:pt x="293" y="183"/>
                  <a:pt x="300" y="190"/>
                  <a:pt x="300" y="190"/>
                </a:cubicBezTo>
                <a:close/>
                <a:moveTo>
                  <a:pt x="34" y="162"/>
                </a:moveTo>
                <a:cubicBezTo>
                  <a:pt x="0" y="162"/>
                  <a:pt x="0" y="162"/>
                  <a:pt x="0" y="162"/>
                </a:cubicBezTo>
                <a:cubicBezTo>
                  <a:pt x="0" y="228"/>
                  <a:pt x="0" y="228"/>
                  <a:pt x="0" y="228"/>
                </a:cubicBezTo>
                <a:cubicBezTo>
                  <a:pt x="34" y="228"/>
                  <a:pt x="34" y="228"/>
                  <a:pt x="34" y="228"/>
                </a:cubicBezTo>
                <a:cubicBezTo>
                  <a:pt x="37" y="228"/>
                  <a:pt x="39" y="226"/>
                  <a:pt x="39" y="224"/>
                </a:cubicBezTo>
                <a:cubicBezTo>
                  <a:pt x="39" y="166"/>
                  <a:pt x="39" y="166"/>
                  <a:pt x="39" y="166"/>
                </a:cubicBezTo>
                <a:cubicBezTo>
                  <a:pt x="39" y="164"/>
                  <a:pt x="37" y="162"/>
                  <a:pt x="34" y="162"/>
                </a:cubicBezTo>
                <a:close/>
                <a:moveTo>
                  <a:pt x="300" y="300"/>
                </a:moveTo>
                <a:cubicBezTo>
                  <a:pt x="300" y="294"/>
                  <a:pt x="300" y="294"/>
                  <a:pt x="300" y="294"/>
                </a:cubicBezTo>
                <a:cubicBezTo>
                  <a:pt x="0" y="294"/>
                  <a:pt x="0" y="294"/>
                  <a:pt x="0" y="294"/>
                </a:cubicBezTo>
                <a:cubicBezTo>
                  <a:pt x="0" y="300"/>
                  <a:pt x="0" y="300"/>
                  <a:pt x="0" y="300"/>
                </a:cubicBezTo>
                <a:cubicBezTo>
                  <a:pt x="300" y="300"/>
                  <a:pt x="300" y="300"/>
                  <a:pt x="300" y="300"/>
                </a:cubicBezTo>
                <a:close/>
                <a:moveTo>
                  <a:pt x="270" y="86"/>
                </a:moveTo>
                <a:cubicBezTo>
                  <a:pt x="270" y="81"/>
                  <a:pt x="270" y="77"/>
                  <a:pt x="271" y="74"/>
                </a:cubicBezTo>
                <a:cubicBezTo>
                  <a:pt x="272" y="72"/>
                  <a:pt x="273" y="70"/>
                  <a:pt x="274" y="68"/>
                </a:cubicBezTo>
                <a:cubicBezTo>
                  <a:pt x="275" y="66"/>
                  <a:pt x="278" y="63"/>
                  <a:pt x="283" y="59"/>
                </a:cubicBezTo>
                <a:cubicBezTo>
                  <a:pt x="289" y="53"/>
                  <a:pt x="294" y="48"/>
                  <a:pt x="296" y="44"/>
                </a:cubicBezTo>
                <a:cubicBezTo>
                  <a:pt x="299" y="40"/>
                  <a:pt x="300" y="35"/>
                  <a:pt x="300" y="31"/>
                </a:cubicBezTo>
                <a:cubicBezTo>
                  <a:pt x="300" y="22"/>
                  <a:pt x="296" y="15"/>
                  <a:pt x="290" y="9"/>
                </a:cubicBezTo>
                <a:cubicBezTo>
                  <a:pt x="283" y="3"/>
                  <a:pt x="275" y="0"/>
                  <a:pt x="264" y="0"/>
                </a:cubicBezTo>
                <a:cubicBezTo>
                  <a:pt x="253" y="0"/>
                  <a:pt x="245" y="3"/>
                  <a:pt x="239" y="8"/>
                </a:cubicBezTo>
                <a:cubicBezTo>
                  <a:pt x="231" y="15"/>
                  <a:pt x="228" y="24"/>
                  <a:pt x="228" y="34"/>
                </a:cubicBezTo>
                <a:cubicBezTo>
                  <a:pt x="242" y="34"/>
                  <a:pt x="242" y="34"/>
                  <a:pt x="242" y="34"/>
                </a:cubicBezTo>
                <a:cubicBezTo>
                  <a:pt x="243" y="26"/>
                  <a:pt x="243" y="21"/>
                  <a:pt x="249" y="17"/>
                </a:cubicBezTo>
                <a:cubicBezTo>
                  <a:pt x="253" y="13"/>
                  <a:pt x="258" y="11"/>
                  <a:pt x="264" y="11"/>
                </a:cubicBezTo>
                <a:cubicBezTo>
                  <a:pt x="270" y="11"/>
                  <a:pt x="277" y="13"/>
                  <a:pt x="281" y="17"/>
                </a:cubicBezTo>
                <a:cubicBezTo>
                  <a:pt x="285" y="21"/>
                  <a:pt x="286" y="25"/>
                  <a:pt x="286" y="31"/>
                </a:cubicBezTo>
                <a:cubicBezTo>
                  <a:pt x="286" y="34"/>
                  <a:pt x="285" y="37"/>
                  <a:pt x="283" y="40"/>
                </a:cubicBezTo>
                <a:cubicBezTo>
                  <a:pt x="282" y="42"/>
                  <a:pt x="279" y="46"/>
                  <a:pt x="274" y="50"/>
                </a:cubicBezTo>
                <a:cubicBezTo>
                  <a:pt x="269" y="54"/>
                  <a:pt x="266" y="57"/>
                  <a:pt x="264" y="59"/>
                </a:cubicBezTo>
                <a:cubicBezTo>
                  <a:pt x="262" y="62"/>
                  <a:pt x="260" y="65"/>
                  <a:pt x="259" y="68"/>
                </a:cubicBezTo>
                <a:cubicBezTo>
                  <a:pt x="257" y="72"/>
                  <a:pt x="256" y="77"/>
                  <a:pt x="256" y="82"/>
                </a:cubicBezTo>
                <a:cubicBezTo>
                  <a:pt x="256" y="83"/>
                  <a:pt x="256" y="85"/>
                  <a:pt x="256" y="86"/>
                </a:cubicBezTo>
                <a:lnTo>
                  <a:pt x="270" y="86"/>
                </a:lnTo>
                <a:close/>
                <a:moveTo>
                  <a:pt x="270" y="111"/>
                </a:moveTo>
                <a:cubicBezTo>
                  <a:pt x="270" y="98"/>
                  <a:pt x="270" y="98"/>
                  <a:pt x="270" y="98"/>
                </a:cubicBezTo>
                <a:cubicBezTo>
                  <a:pt x="256" y="98"/>
                  <a:pt x="256" y="98"/>
                  <a:pt x="256" y="98"/>
                </a:cubicBezTo>
                <a:cubicBezTo>
                  <a:pt x="256" y="111"/>
                  <a:pt x="256" y="111"/>
                  <a:pt x="256" y="111"/>
                </a:cubicBezTo>
                <a:lnTo>
                  <a:pt x="270" y="111"/>
                </a:lnTo>
                <a:close/>
                <a:moveTo>
                  <a:pt x="86" y="76"/>
                </a:moveTo>
                <a:cubicBezTo>
                  <a:pt x="75" y="111"/>
                  <a:pt x="75" y="111"/>
                  <a:pt x="75" y="111"/>
                </a:cubicBezTo>
                <a:cubicBezTo>
                  <a:pt x="60" y="111"/>
                  <a:pt x="60" y="111"/>
                  <a:pt x="60" y="111"/>
                </a:cubicBezTo>
                <a:cubicBezTo>
                  <a:pt x="98" y="0"/>
                  <a:pt x="98" y="0"/>
                  <a:pt x="98" y="0"/>
                </a:cubicBezTo>
                <a:cubicBezTo>
                  <a:pt x="115" y="0"/>
                  <a:pt x="115" y="0"/>
                  <a:pt x="115" y="0"/>
                </a:cubicBezTo>
                <a:cubicBezTo>
                  <a:pt x="153" y="111"/>
                  <a:pt x="153" y="111"/>
                  <a:pt x="153" y="111"/>
                </a:cubicBezTo>
                <a:cubicBezTo>
                  <a:pt x="138" y="111"/>
                  <a:pt x="138" y="111"/>
                  <a:pt x="138" y="111"/>
                </a:cubicBezTo>
                <a:cubicBezTo>
                  <a:pt x="126" y="76"/>
                  <a:pt x="126" y="76"/>
                  <a:pt x="126" y="76"/>
                </a:cubicBezTo>
                <a:lnTo>
                  <a:pt x="86" y="76"/>
                </a:lnTo>
                <a:close/>
                <a:moveTo>
                  <a:pt x="123" y="65"/>
                </a:moveTo>
                <a:cubicBezTo>
                  <a:pt x="112" y="33"/>
                  <a:pt x="112" y="33"/>
                  <a:pt x="112" y="33"/>
                </a:cubicBezTo>
                <a:cubicBezTo>
                  <a:pt x="109" y="26"/>
                  <a:pt x="108" y="19"/>
                  <a:pt x="106" y="13"/>
                </a:cubicBezTo>
                <a:cubicBezTo>
                  <a:pt x="106" y="13"/>
                  <a:pt x="106" y="13"/>
                  <a:pt x="106" y="13"/>
                </a:cubicBezTo>
                <a:cubicBezTo>
                  <a:pt x="104" y="19"/>
                  <a:pt x="102" y="26"/>
                  <a:pt x="100" y="33"/>
                </a:cubicBezTo>
                <a:cubicBezTo>
                  <a:pt x="89" y="65"/>
                  <a:pt x="89" y="65"/>
                  <a:pt x="89" y="65"/>
                </a:cubicBezTo>
                <a:lnTo>
                  <a:pt x="123" y="65"/>
                </a:ln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11085779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26"/>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Vbq7KMpK1EaOPUyWRwX51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4Jpbr8oqBUC2tnP9JwQcg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61LhpbdLD0uNGibxDJOGU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potS1hKZWk2IA3lF7vlk2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z8wvpVT650CuEZCub0M4Q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7.K6bBAJvkS3.ukwBGLqd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CDymgjsaf0qp25wa8mnEJ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CDymgjsaf0qp25wa8mnEJ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CDymgjsaf0qp25wa8mnEJ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KrD95805lkyLQO9pM3_RE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nGWmLj.42EuGG.fPUDRgp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msziOZcAzkeLuUr01fOqh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EIYRcEz4nE2YSTsJelfFP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EQX5uKmZKked19c3NapSR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Zf7VmKem2kCFMALb6xG9m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q9Ku5AHzx0K4jpM9nXZOa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8sb8545bxkyugdA0d2oQn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YU7t8HL_nke8U3fHbY0Qh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UN0XFAYQa0C4JLKML54jp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ynU8WQDMZkeEmlMRuDGij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aZZJ7WqZRUO.VUy_r3705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4SlR.2h8UOzrEkxrftVE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g9c96qjfD0WXNl5eOTs8U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LrhE3TJgl0.W6ks70b1Ct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0fp0GS3bzkeI_WlLaSFYY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ICN56qPz10CfXV3IpsPTM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6nKz.PWryUeu7CaDkJE7h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GQ_H_yrL2EKxjmKKLG8JL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lvvZcr7qZkCg6AjtV7.Yh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74_SR.On6E2qZo3yDhnAA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XRmmtj9Uk0K6GWGBb7RAu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Vbq7KMpK1EaOPUyWRwX51A"/>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KeywordTaxHTField xmlns="230e9df3-be65-4c73-a93b-d1236ebd677e">
      <Terms xmlns="http://schemas.microsoft.com/office/infopath/2007/PartnerControls"/>
    </TaxKeywordTaxHTField>
    <TaxCatchAll xmlns="230e9df3-be65-4c73-a93b-d1236ebd677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CA05B43BE68FE54B90DD26FDFB72BB05" ma:contentTypeVersion="0" ma:contentTypeDescription="Create a new document." ma:contentTypeScope="" ma:versionID="6df1bece345c1749bd9b91e82fa4a03a">
  <xsd:schema xmlns:xsd="http://www.w3.org/2001/XMLSchema" xmlns:xs="http://www.w3.org/2001/XMLSchema" xmlns:p="http://schemas.microsoft.com/office/2006/metadata/properties" xmlns:ns2="230e9df3-be65-4c73-a93b-d1236ebd677e" targetNamespace="http://schemas.microsoft.com/office/2006/metadata/properties" ma:root="true" ma:fieldsID="e317b0b832c9845d3aae3abd1bb0954e" ns2:_="">
    <xsd:import namespace="230e9df3-be65-4c73-a93b-d1236ebd677e"/>
    <xsd:element name="properties">
      <xsd:complexType>
        <xsd:sequence>
          <xsd:element name="documentManagement">
            <xsd:complexType>
              <xsd:all>
                <xsd:element ref="ns2:TaxKeywordTaxHTField" minOccurs="0"/>
                <xsd:element ref="ns2:TaxCatchAll" minOccurs="0"/>
                <xsd:element ref="ns2:TaxCatchAllLabe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KeywordTaxHTField" ma:index="8" nillable="true" ma:taxonomy="true" ma:internalName="TaxKeywordTaxHTField" ma:taxonomyFieldName="TaxKeyword" ma:displayName="Enterprise Keywords"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TaxCatchAll" ma:index="9" nillable="true" ma:displayName="Taxonomy Catch All Column" ma:hidden="true" ma:list="{24ccdd3d-8ee2-4326-a025-466a9d1bc8a2}" ma:internalName="TaxCatchAll" ma:showField="CatchAllData" ma:web="a6005bf8-687e-4195-b520-3fb25bf0cb8a">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hidden="true" ma:list="{24ccdd3d-8ee2-4326-a025-466a9d1bc8a2}" ma:internalName="TaxCatchAllLabel" ma:readOnly="true" ma:showField="CatchAllDataLabel" ma:web="a6005bf8-687e-4195-b520-3fb25bf0cb8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69B2F97D-0457-4986-9734-D03EB073C5EA}">
  <ds:schemaRefs>
    <ds:schemaRef ds:uri="http://schemas.openxmlformats.org/package/2006/metadata/core-properties"/>
    <ds:schemaRef ds:uri="http://schemas.microsoft.com/office/2006/metadata/properties"/>
    <ds:schemaRef ds:uri="http://purl.org/dc/elements/1.1/"/>
    <ds:schemaRef ds:uri="http://purl.org/dc/dcmitype/"/>
    <ds:schemaRef ds:uri="http://www.w3.org/XML/1998/namespace"/>
    <ds:schemaRef ds:uri="http://schemas.microsoft.com/office/2006/documentManagement/types"/>
    <ds:schemaRef ds:uri="230e9df3-be65-4c73-a93b-d1236ebd677e"/>
    <ds:schemaRef ds:uri="http://schemas.microsoft.com/office/infopath/2007/PartnerControls"/>
    <ds:schemaRef ds:uri="http://purl.org/dc/terms/"/>
  </ds:schemaRefs>
</ds:datastoreItem>
</file>

<file path=customXml/itemProps2.xml><?xml version="1.0" encoding="utf-8"?>
<ds:datastoreItem xmlns:ds="http://schemas.openxmlformats.org/officeDocument/2006/customXml" ds:itemID="{8F590144-748D-417B-8B69-088F107B0F9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B882D8D6-9D38-4159-A398-AAC3689D3D7C}">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3200</TotalTime>
  <Words>2567</Words>
  <Application>Microsoft Office PowerPoint</Application>
  <PresentationFormat>Custom</PresentationFormat>
  <Paragraphs>382</Paragraphs>
  <Slides>34</Slides>
  <Notes>30</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34</vt:i4>
      </vt:variant>
    </vt:vector>
  </HeadingPairs>
  <TitlesOfParts>
    <vt:vector size="42" baseType="lpstr">
      <vt:lpstr>Arial</vt:lpstr>
      <vt:lpstr>Segoe UI Light</vt:lpstr>
      <vt:lpstr>Segoe UI</vt:lpstr>
      <vt:lpstr>Consolas</vt:lpstr>
      <vt:lpstr>Segoe Light</vt:lpstr>
      <vt:lpstr>MS1444_Windows Azure Template 16x9_r08b</vt:lpstr>
      <vt:lpstr>White with Consolas font for code slides</vt:lpstr>
      <vt:lpstr>think-cell Slide</vt:lpstr>
      <vt:lpstr>WebCamps Online</vt:lpstr>
      <vt:lpstr>Building a Service Layer  with ASP.NET Web API</vt:lpstr>
      <vt:lpstr>Agenda </vt:lpstr>
      <vt:lpstr>Today</vt:lpstr>
      <vt:lpstr>Web API is a part of ASP.NET</vt:lpstr>
      <vt:lpstr>PowerPoint Presentation</vt:lpstr>
      <vt:lpstr>Homepage: asp.net/web-api</vt:lpstr>
      <vt:lpstr>Find Us on Nuget</vt:lpstr>
      <vt:lpstr>Building a Read Only Web API</vt:lpstr>
      <vt:lpstr>Sample Read-only Model and Controller</vt:lpstr>
      <vt:lpstr>Read-only Controller Actions to return data</vt:lpstr>
      <vt:lpstr>Routing a Web API Using Global.asax.cs</vt:lpstr>
      <vt:lpstr>Manipulating HTTP Responses</vt:lpstr>
      <vt:lpstr>Manipulating HTTP Responses</vt:lpstr>
      <vt:lpstr>Manipulating HTTP Responses</vt:lpstr>
      <vt:lpstr>Building a read only Web API</vt:lpstr>
      <vt:lpstr>Making an API Updatable</vt:lpstr>
      <vt:lpstr>Posting Data to a Web API</vt:lpstr>
      <vt:lpstr>Posting Data to a Web API</vt:lpstr>
      <vt:lpstr>Making an  API updatable</vt:lpstr>
      <vt:lpstr>Supporting HTML File Upload</vt:lpstr>
      <vt:lpstr>Support HTML File Upload</vt:lpstr>
      <vt:lpstr>Uploading Files</vt:lpstr>
      <vt:lpstr>So what happens during upload?</vt:lpstr>
      <vt:lpstr>HTML file upload</vt:lpstr>
      <vt:lpstr>Configuring Your Web API</vt:lpstr>
      <vt:lpstr>Configuring your  Web API</vt:lpstr>
      <vt:lpstr>Configuring Your Web API</vt:lpstr>
      <vt:lpstr>Configuring Media Type Formatters </vt:lpstr>
      <vt:lpstr>Configuring media type formatters</vt:lpstr>
      <vt:lpstr>What We Learned</vt:lpstr>
      <vt:lpstr>For More Information</vt:lpstr>
      <vt:lpstr>Resources</vt:lpstr>
      <vt:lpstr>PowerPoint Presentation</vt:lpstr>
    </vt:vector>
  </TitlesOfParts>
  <Company>Artitudes Design</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indows Azure Overview</dc:title>
  <dc:subject>Windows Azure</dc:subject>
  <dc:creator>Artitudes Design</dc:creator>
  <cp:lastModifiedBy>Brady Gaster</cp:lastModifiedBy>
  <cp:revision>312</cp:revision>
  <cp:lastPrinted>2011-10-11T14:25:22Z</cp:lastPrinted>
  <dcterms:created xsi:type="dcterms:W3CDTF">2011-03-29T16:07:22Z</dcterms:created>
  <dcterms:modified xsi:type="dcterms:W3CDTF">2012-04-27T08:07:3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A05B43BE68FE54B90DD26FDFB72BB05</vt:lpwstr>
  </property>
</Properties>
</file>